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952" r:id="rId4"/>
    <p:sldMasterId id="2147484997" r:id="rId5"/>
    <p:sldMasterId id="2147485051" r:id="rId6"/>
  </p:sldMasterIdLst>
  <p:notesMasterIdLst>
    <p:notesMasterId r:id="rId42"/>
  </p:notesMasterIdLst>
  <p:handoutMasterIdLst>
    <p:handoutMasterId r:id="rId43"/>
  </p:handoutMasterIdLst>
  <p:sldIdLst>
    <p:sldId id="3666" r:id="rId7"/>
    <p:sldId id="3684" r:id="rId8"/>
    <p:sldId id="3652" r:id="rId9"/>
    <p:sldId id="3707" r:id="rId10"/>
    <p:sldId id="2134804648" r:id="rId11"/>
    <p:sldId id="3708" r:id="rId12"/>
    <p:sldId id="3709" r:id="rId13"/>
    <p:sldId id="3694" r:id="rId14"/>
    <p:sldId id="3682" r:id="rId15"/>
    <p:sldId id="3681" r:id="rId16"/>
    <p:sldId id="3680" r:id="rId17"/>
    <p:sldId id="3697" r:id="rId18"/>
    <p:sldId id="2134804649" r:id="rId19"/>
    <p:sldId id="2134804650" r:id="rId20"/>
    <p:sldId id="2134804651" r:id="rId21"/>
    <p:sldId id="2134804652" r:id="rId22"/>
    <p:sldId id="2134804653" r:id="rId23"/>
    <p:sldId id="2134804654" r:id="rId24"/>
    <p:sldId id="2134804655" r:id="rId25"/>
    <p:sldId id="2134804656" r:id="rId26"/>
    <p:sldId id="3699" r:id="rId27"/>
    <p:sldId id="2134804657" r:id="rId28"/>
    <p:sldId id="3702" r:id="rId29"/>
    <p:sldId id="3698" r:id="rId30"/>
    <p:sldId id="2134804660" r:id="rId31"/>
    <p:sldId id="3700" r:id="rId32"/>
    <p:sldId id="3701" r:id="rId33"/>
    <p:sldId id="3696" r:id="rId34"/>
    <p:sldId id="3695" r:id="rId35"/>
    <p:sldId id="3686" r:id="rId36"/>
    <p:sldId id="3703" r:id="rId37"/>
    <p:sldId id="2134804658" r:id="rId38"/>
    <p:sldId id="2134804659" r:id="rId39"/>
    <p:sldId id="3670" r:id="rId40"/>
    <p:sldId id="3653" r:id="rId4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99B07D6C-A1D8-47EC-A317-8DCF7BF193F0}">
          <p14:sldIdLst/>
        </p14:section>
        <p14:section name="Start" id="{78442247-2457-48A8-AB95-9741B85D00E2}">
          <p14:sldIdLst>
            <p14:sldId id="3666"/>
            <p14:sldId id="3684"/>
            <p14:sldId id="3652"/>
          </p14:sldIdLst>
        </p14:section>
        <p14:section name="Introduction" id="{C2B37773-AFCE-4BB6-89B6-2412A94F3BA0}">
          <p14:sldIdLst>
            <p14:sldId id="3707"/>
            <p14:sldId id="2134804648"/>
          </p14:sldIdLst>
        </p14:section>
        <p14:section name="Overview" id="{7CF7A8CB-4C8D-49D4-95C7-174768D91453}">
          <p14:sldIdLst>
            <p14:sldId id="3708"/>
            <p14:sldId id="3709"/>
            <p14:sldId id="3694"/>
          </p14:sldIdLst>
        </p14:section>
        <p14:section name="Checks Resume" id="{56434DBE-0E52-4F33-9C5E-38A2AC44A0FF}">
          <p14:sldIdLst>
            <p14:sldId id="3682"/>
            <p14:sldId id="3681"/>
            <p14:sldId id="3680"/>
          </p14:sldIdLst>
        </p14:section>
        <p14:section name="Assessment - Security" id="{6F5A8974-B9E4-4177-AC2F-E3F4374A36DC}">
          <p14:sldIdLst>
            <p14:sldId id="3697"/>
            <p14:sldId id="2134804649"/>
            <p14:sldId id="2134804650"/>
            <p14:sldId id="2134804651"/>
            <p14:sldId id="2134804652"/>
            <p14:sldId id="2134804653"/>
            <p14:sldId id="2134804654"/>
            <p14:sldId id="2134804655"/>
            <p14:sldId id="2134804656"/>
            <p14:sldId id="3699"/>
            <p14:sldId id="2134804657"/>
            <p14:sldId id="3702"/>
            <p14:sldId id="3698"/>
            <p14:sldId id="2134804660"/>
          </p14:sldIdLst>
        </p14:section>
        <p14:section name="Assessment - Observability" id="{3B12B497-1F5A-460F-A588-FD0F0D0FA325}">
          <p14:sldIdLst>
            <p14:sldId id="3700"/>
            <p14:sldId id="3701"/>
          </p14:sldIdLst>
        </p14:section>
        <p14:section name="Assessment - Resiliency" id="{2A621A97-8BC6-449B-8882-60C27BEE269F}">
          <p14:sldIdLst>
            <p14:sldId id="3696"/>
            <p14:sldId id="3695"/>
            <p14:sldId id="3686"/>
            <p14:sldId id="3703"/>
          </p14:sldIdLst>
        </p14:section>
        <p14:section name="Assessment - Networking" id="{196884B9-3E04-4A08-A00B-4A884AA2818C}">
          <p14:sldIdLst>
            <p14:sldId id="2134804658"/>
          </p14:sldIdLst>
        </p14:section>
        <p14:section name="Assessment - Performance" id="{573119CB-84D2-4EF8-AD16-47CE14639C7A}">
          <p14:sldIdLst>
            <p14:sldId id="2134804659"/>
          </p14:sldIdLst>
        </p14:section>
        <p14:section name="Next Steps" id="{099CF52D-E4BA-4D2A-91C6-2DE455059197}">
          <p14:sldIdLst>
            <p14:sldId id="3670"/>
          </p14:sldIdLst>
        </p14:section>
        <p14:section name="End" id="{8862871F-070F-436E-9008-36114B950065}">
          <p14:sldIdLst>
            <p14:sldId id="365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253356"/>
    <a:srgbClr val="1A1A1A"/>
    <a:srgbClr val="0078D4"/>
    <a:srgbClr val="107C10"/>
    <a:srgbClr val="EAEAEA"/>
    <a:srgbClr val="004B50"/>
    <a:srgbClr val="008272"/>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ECF901-E3F0-4D8A-A5A7-F8BE37A27083}" v="137" dt="2023-12-01T11:38:04.0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7468" autoAdjust="0"/>
  </p:normalViewPr>
  <p:slideViewPr>
    <p:cSldViewPr snapToGrid="0">
      <p:cViewPr varScale="1">
        <p:scale>
          <a:sx n="113" d="100"/>
          <a:sy n="113" d="100"/>
        </p:scale>
        <p:origin x="84" y="5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2.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anluigi Liguori" userId="57fd9f51-5ba6-4365-b582-853c059ff100" providerId="ADAL" clId="{A62768C8-D17A-4AD1-80E4-1D11DD346123}"/>
    <pc:docChg chg="modSld">
      <pc:chgData name="Gianluigi Liguori" userId="57fd9f51-5ba6-4365-b582-853c059ff100" providerId="ADAL" clId="{A62768C8-D17A-4AD1-80E4-1D11DD346123}" dt="2023-12-01T15:09:50.204" v="5" actId="20577"/>
      <pc:docMkLst>
        <pc:docMk/>
      </pc:docMkLst>
      <pc:sldChg chg="modSp mod">
        <pc:chgData name="Gianluigi Liguori" userId="57fd9f51-5ba6-4365-b582-853c059ff100" providerId="ADAL" clId="{A62768C8-D17A-4AD1-80E4-1D11DD346123}" dt="2023-12-01T15:09:50.204" v="5" actId="20577"/>
        <pc:sldMkLst>
          <pc:docMk/>
          <pc:sldMk cId="3022581484" sldId="3666"/>
        </pc:sldMkLst>
        <pc:spChg chg="mod">
          <ac:chgData name="Gianluigi Liguori" userId="57fd9f51-5ba6-4365-b582-853c059ff100" providerId="ADAL" clId="{A62768C8-D17A-4AD1-80E4-1D11DD346123}" dt="2023-12-01T15:09:50.204" v="5" actId="20577"/>
          <ac:spMkLst>
            <pc:docMk/>
            <pc:sldMk cId="3022581484" sldId="3666"/>
            <ac:spMk id="16" creationId="{6F76C6F6-853D-4588-88AB-182B1C4458BA}"/>
          </ac:spMkLst>
        </pc:spChg>
      </pc:sldChg>
    </pc:docChg>
  </pc:docChgLst>
  <pc:docChgLst>
    <pc:chgData name="Gianluigi Liguori" userId="57fd9f51-5ba6-4365-b582-853c059ff100" providerId="ADAL" clId="{D7ECF901-E3F0-4D8A-A5A7-F8BE37A27083}"/>
    <pc:docChg chg="undo redo custSel addSld delSld modSld sldOrd addSection delSection modSection">
      <pc:chgData name="Gianluigi Liguori" userId="57fd9f51-5ba6-4365-b582-853c059ff100" providerId="ADAL" clId="{D7ECF901-E3F0-4D8A-A5A7-F8BE37A27083}" dt="2023-12-01T14:59:41.081" v="10273" actId="14100"/>
      <pc:docMkLst>
        <pc:docMk/>
      </pc:docMkLst>
      <pc:sldChg chg="modSp mod">
        <pc:chgData name="Gianluigi Liguori" userId="57fd9f51-5ba6-4365-b582-853c059ff100" providerId="ADAL" clId="{D7ECF901-E3F0-4D8A-A5A7-F8BE37A27083}" dt="2023-12-01T11:10:46.468" v="9698" actId="20577"/>
        <pc:sldMkLst>
          <pc:docMk/>
          <pc:sldMk cId="4178565498" sldId="3652"/>
        </pc:sldMkLst>
        <pc:spChg chg="mod">
          <ac:chgData name="Gianluigi Liguori" userId="57fd9f51-5ba6-4365-b582-853c059ff100" providerId="ADAL" clId="{D7ECF901-E3F0-4D8A-A5A7-F8BE37A27083}" dt="2023-12-01T11:10:46.468" v="9698" actId="20577"/>
          <ac:spMkLst>
            <pc:docMk/>
            <pc:sldMk cId="4178565498" sldId="3652"/>
            <ac:spMk id="7" creationId="{61F6BD0B-C4D8-42DE-A3A7-50D8219CE639}"/>
          </ac:spMkLst>
        </pc:spChg>
      </pc:sldChg>
      <pc:sldChg chg="del">
        <pc:chgData name="Gianluigi Liguori" userId="57fd9f51-5ba6-4365-b582-853c059ff100" providerId="ADAL" clId="{D7ECF901-E3F0-4D8A-A5A7-F8BE37A27083}" dt="2023-11-25T18:12:40.267" v="116" actId="2696"/>
        <pc:sldMkLst>
          <pc:docMk/>
          <pc:sldMk cId="1638243788" sldId="3665"/>
        </pc:sldMkLst>
      </pc:sldChg>
      <pc:sldChg chg="modSp mod">
        <pc:chgData name="Gianluigi Liguori" userId="57fd9f51-5ba6-4365-b582-853c059ff100" providerId="ADAL" clId="{D7ECF901-E3F0-4D8A-A5A7-F8BE37A27083}" dt="2023-12-01T11:15:52.648" v="9832" actId="20577"/>
        <pc:sldMkLst>
          <pc:docMk/>
          <pc:sldMk cId="3022581484" sldId="3666"/>
        </pc:sldMkLst>
        <pc:spChg chg="mod">
          <ac:chgData name="Gianluigi Liguori" userId="57fd9f51-5ba6-4365-b582-853c059ff100" providerId="ADAL" clId="{D7ECF901-E3F0-4D8A-A5A7-F8BE37A27083}" dt="2023-12-01T11:15:52.648" v="9832" actId="20577"/>
          <ac:spMkLst>
            <pc:docMk/>
            <pc:sldMk cId="3022581484" sldId="3666"/>
            <ac:spMk id="2" creationId="{667765C3-EA80-439B-AFCE-8069D2A6F179}"/>
          </ac:spMkLst>
        </pc:spChg>
        <pc:spChg chg="mod">
          <ac:chgData name="Gianluigi Liguori" userId="57fd9f51-5ba6-4365-b582-853c059ff100" providerId="ADAL" clId="{D7ECF901-E3F0-4D8A-A5A7-F8BE37A27083}" dt="2023-12-01T11:10:20.470" v="9689" actId="20577"/>
          <ac:spMkLst>
            <pc:docMk/>
            <pc:sldMk cId="3022581484" sldId="3666"/>
            <ac:spMk id="11" creationId="{4998EC60-7176-4F23-9ACA-8B6954D4F828}"/>
          </ac:spMkLst>
        </pc:spChg>
        <pc:spChg chg="mod">
          <ac:chgData name="Gianluigi Liguori" userId="57fd9f51-5ba6-4365-b582-853c059ff100" providerId="ADAL" clId="{D7ECF901-E3F0-4D8A-A5A7-F8BE37A27083}" dt="2023-12-01T11:10:28.531" v="9695" actId="20577"/>
          <ac:spMkLst>
            <pc:docMk/>
            <pc:sldMk cId="3022581484" sldId="3666"/>
            <ac:spMk id="14" creationId="{DD0BEAB0-D004-444A-AF6E-0C735E676859}"/>
          </ac:spMkLst>
        </pc:spChg>
        <pc:spChg chg="mod">
          <ac:chgData name="Gianluigi Liguori" userId="57fd9f51-5ba6-4365-b582-853c059ff100" providerId="ADAL" clId="{D7ECF901-E3F0-4D8A-A5A7-F8BE37A27083}" dt="2023-12-01T11:10:18.255" v="9687" actId="6549"/>
          <ac:spMkLst>
            <pc:docMk/>
            <pc:sldMk cId="3022581484" sldId="3666"/>
            <ac:spMk id="16" creationId="{6F76C6F6-853D-4588-88AB-182B1C4458BA}"/>
          </ac:spMkLst>
        </pc:spChg>
      </pc:sldChg>
      <pc:sldChg chg="mod modShow">
        <pc:chgData name="Gianluigi Liguori" userId="57fd9f51-5ba6-4365-b582-853c059ff100" providerId="ADAL" clId="{D7ECF901-E3F0-4D8A-A5A7-F8BE37A27083}" dt="2023-11-29T23:47:04.996" v="9649" actId="729"/>
        <pc:sldMkLst>
          <pc:docMk/>
          <pc:sldMk cId="3314505833" sldId="3670"/>
        </pc:sldMkLst>
      </pc:sldChg>
      <pc:sldChg chg="mod modShow">
        <pc:chgData name="Gianluigi Liguori" userId="57fd9f51-5ba6-4365-b582-853c059ff100" providerId="ADAL" clId="{D7ECF901-E3F0-4D8A-A5A7-F8BE37A27083}" dt="2023-11-29T23:47:13.857" v="9650" actId="729"/>
        <pc:sldMkLst>
          <pc:docMk/>
          <pc:sldMk cId="3517605185" sldId="3680"/>
        </pc:sldMkLst>
      </pc:sldChg>
      <pc:sldChg chg="mod modShow">
        <pc:chgData name="Gianluigi Liguori" userId="57fd9f51-5ba6-4365-b582-853c059ff100" providerId="ADAL" clId="{D7ECF901-E3F0-4D8A-A5A7-F8BE37A27083}" dt="2023-11-29T23:47:13.857" v="9650" actId="729"/>
        <pc:sldMkLst>
          <pc:docMk/>
          <pc:sldMk cId="2058726083" sldId="3681"/>
        </pc:sldMkLst>
      </pc:sldChg>
      <pc:sldChg chg="modSp mod modShow">
        <pc:chgData name="Gianluigi Liguori" userId="57fd9f51-5ba6-4365-b582-853c059ff100" providerId="ADAL" clId="{D7ECF901-E3F0-4D8A-A5A7-F8BE37A27083}" dt="2023-12-01T11:38:43.321" v="9889" actId="20577"/>
        <pc:sldMkLst>
          <pc:docMk/>
          <pc:sldMk cId="2490381691" sldId="3682"/>
        </pc:sldMkLst>
        <pc:spChg chg="mod">
          <ac:chgData name="Gianluigi Liguori" userId="57fd9f51-5ba6-4365-b582-853c059ff100" providerId="ADAL" clId="{D7ECF901-E3F0-4D8A-A5A7-F8BE37A27083}" dt="2023-12-01T11:38:43.321" v="9889" actId="20577"/>
          <ac:spMkLst>
            <pc:docMk/>
            <pc:sldMk cId="2490381691" sldId="3682"/>
            <ac:spMk id="2" creationId="{00000000-0000-0000-0000-000000000000}"/>
          </ac:spMkLst>
        </pc:spChg>
      </pc:sldChg>
      <pc:sldChg chg="modSp mod">
        <pc:chgData name="Gianluigi Liguori" userId="57fd9f51-5ba6-4365-b582-853c059ff100" providerId="ADAL" clId="{D7ECF901-E3F0-4D8A-A5A7-F8BE37A27083}" dt="2023-12-01T11:11:01.623" v="9706" actId="6549"/>
        <pc:sldMkLst>
          <pc:docMk/>
          <pc:sldMk cId="205687132" sldId="3684"/>
        </pc:sldMkLst>
        <pc:spChg chg="mod">
          <ac:chgData name="Gianluigi Liguori" userId="57fd9f51-5ba6-4365-b582-853c059ff100" providerId="ADAL" clId="{D7ECF901-E3F0-4D8A-A5A7-F8BE37A27083}" dt="2023-12-01T11:11:01.623" v="9706" actId="6549"/>
          <ac:spMkLst>
            <pc:docMk/>
            <pc:sldMk cId="205687132" sldId="3684"/>
            <ac:spMk id="15" creationId="{5099DD84-217A-4D89-9138-546EDE4E0152}"/>
          </ac:spMkLst>
        </pc:spChg>
      </pc:sldChg>
      <pc:sldChg chg="addSp delSp modSp mod">
        <pc:chgData name="Gianluigi Liguori" userId="57fd9f51-5ba6-4365-b582-853c059ff100" providerId="ADAL" clId="{D7ECF901-E3F0-4D8A-A5A7-F8BE37A27083}" dt="2023-12-01T11:39:38.757" v="9919" actId="20577"/>
        <pc:sldMkLst>
          <pc:docMk/>
          <pc:sldMk cId="987033822" sldId="3686"/>
        </pc:sldMkLst>
        <pc:spChg chg="mod">
          <ac:chgData name="Gianluigi Liguori" userId="57fd9f51-5ba6-4365-b582-853c059ff100" providerId="ADAL" clId="{D7ECF901-E3F0-4D8A-A5A7-F8BE37A27083}" dt="2023-12-01T11:39:38.757" v="9919" actId="20577"/>
          <ac:spMkLst>
            <pc:docMk/>
            <pc:sldMk cId="987033822" sldId="3686"/>
            <ac:spMk id="2" creationId="{00000000-0000-0000-0000-000000000000}"/>
          </ac:spMkLst>
        </pc:spChg>
        <pc:spChg chg="add mod">
          <ac:chgData name="Gianluigi Liguori" userId="57fd9f51-5ba6-4365-b582-853c059ff100" providerId="ADAL" clId="{D7ECF901-E3F0-4D8A-A5A7-F8BE37A27083}" dt="2023-11-29T23:26:22.440" v="8336" actId="20577"/>
          <ac:spMkLst>
            <pc:docMk/>
            <pc:sldMk cId="987033822" sldId="3686"/>
            <ac:spMk id="3" creationId="{7FADC786-0922-FCC4-BDB3-984DF4C0F87B}"/>
          </ac:spMkLst>
        </pc:spChg>
        <pc:spChg chg="add mod">
          <ac:chgData name="Gianluigi Liguori" userId="57fd9f51-5ba6-4365-b582-853c059ff100" providerId="ADAL" clId="{D7ECF901-E3F0-4D8A-A5A7-F8BE37A27083}" dt="2023-11-29T23:29:05.008" v="8639" actId="20577"/>
          <ac:spMkLst>
            <pc:docMk/>
            <pc:sldMk cId="987033822" sldId="3686"/>
            <ac:spMk id="5" creationId="{16E4C098-119F-735D-934A-B323C72C22E8}"/>
          </ac:spMkLst>
        </pc:spChg>
        <pc:graphicFrameChg chg="add del mod modGraphic">
          <ac:chgData name="Gianluigi Liguori" userId="57fd9f51-5ba6-4365-b582-853c059ff100" providerId="ADAL" clId="{D7ECF901-E3F0-4D8A-A5A7-F8BE37A27083}" dt="2023-11-27T22:11:44.010" v="675"/>
          <ac:graphicFrameMkLst>
            <pc:docMk/>
            <pc:sldMk cId="987033822" sldId="3686"/>
            <ac:graphicFrameMk id="5" creationId="{E1F65CE6-439F-508C-B39C-73CB6F83F302}"/>
          </ac:graphicFrameMkLst>
        </pc:graphicFrameChg>
        <pc:graphicFrameChg chg="add del mod modGraphic">
          <ac:chgData name="Gianluigi Liguori" userId="57fd9f51-5ba6-4365-b582-853c059ff100" providerId="ADAL" clId="{D7ECF901-E3F0-4D8A-A5A7-F8BE37A27083}" dt="2023-11-29T23:23:30.122" v="8175" actId="478"/>
          <ac:graphicFrameMkLst>
            <pc:docMk/>
            <pc:sldMk cId="987033822" sldId="3686"/>
            <ac:graphicFrameMk id="6" creationId="{D7F9DA6A-B48F-4625-D418-3F2C33A67C13}"/>
          </ac:graphicFrameMkLst>
        </pc:graphicFrameChg>
        <pc:graphicFrameChg chg="del">
          <ac:chgData name="Gianluigi Liguori" userId="57fd9f51-5ba6-4365-b582-853c059ff100" providerId="ADAL" clId="{D7ECF901-E3F0-4D8A-A5A7-F8BE37A27083}" dt="2023-11-27T22:10:15.862" v="668" actId="478"/>
          <ac:graphicFrameMkLst>
            <pc:docMk/>
            <pc:sldMk cId="987033822" sldId="3686"/>
            <ac:graphicFrameMk id="7" creationId="{FE7A75CD-B71D-E4F9-2F27-636CE3BD06E4}"/>
          </ac:graphicFrameMkLst>
        </pc:graphicFrameChg>
        <pc:graphicFrameChg chg="del">
          <ac:chgData name="Gianluigi Liguori" userId="57fd9f51-5ba6-4365-b582-853c059ff100" providerId="ADAL" clId="{D7ECF901-E3F0-4D8A-A5A7-F8BE37A27083}" dt="2023-11-27T22:11:39.974" v="671" actId="478"/>
          <ac:graphicFrameMkLst>
            <pc:docMk/>
            <pc:sldMk cId="987033822" sldId="3686"/>
            <ac:graphicFrameMk id="9" creationId="{1C6FFF51-E800-E739-25BB-465AC99DDF8F}"/>
          </ac:graphicFrameMkLst>
        </pc:graphicFrameChg>
        <pc:picChg chg="add mod">
          <ac:chgData name="Gianluigi Liguori" userId="57fd9f51-5ba6-4365-b582-853c059ff100" providerId="ADAL" clId="{D7ECF901-E3F0-4D8A-A5A7-F8BE37A27083}" dt="2023-11-27T22:10:23.248" v="670" actId="1076"/>
          <ac:picMkLst>
            <pc:docMk/>
            <pc:sldMk cId="987033822" sldId="3686"/>
            <ac:picMk id="4" creationId="{50AD4C9A-DEA9-35F9-F087-4BC93BDE9B27}"/>
          </ac:picMkLst>
        </pc:picChg>
      </pc:sldChg>
      <pc:sldChg chg="addSp delSp modSp mod">
        <pc:chgData name="Gianluigi Liguori" userId="57fd9f51-5ba6-4365-b582-853c059ff100" providerId="ADAL" clId="{D7ECF901-E3F0-4D8A-A5A7-F8BE37A27083}" dt="2023-12-01T11:15:56.153" v="9835" actId="1076"/>
        <pc:sldMkLst>
          <pc:docMk/>
          <pc:sldMk cId="2159309765" sldId="3694"/>
        </pc:sldMkLst>
        <pc:spChg chg="mod">
          <ac:chgData name="Gianluigi Liguori" userId="57fd9f51-5ba6-4365-b582-853c059ff100" providerId="ADAL" clId="{D7ECF901-E3F0-4D8A-A5A7-F8BE37A27083}" dt="2023-12-01T11:13:20.892" v="9725" actId="20577"/>
          <ac:spMkLst>
            <pc:docMk/>
            <pc:sldMk cId="2159309765" sldId="3694"/>
            <ac:spMk id="3" creationId="{EB0EF1DD-C4B8-5E4D-241C-AB880D6D6124}"/>
          </ac:spMkLst>
        </pc:spChg>
        <pc:spChg chg="add mod">
          <ac:chgData name="Gianluigi Liguori" userId="57fd9f51-5ba6-4365-b582-853c059ff100" providerId="ADAL" clId="{D7ECF901-E3F0-4D8A-A5A7-F8BE37A27083}" dt="2023-12-01T11:14:21.859" v="9826" actId="20577"/>
          <ac:spMkLst>
            <pc:docMk/>
            <pc:sldMk cId="2159309765" sldId="3694"/>
            <ac:spMk id="5" creationId="{9398ABE6-CD19-C8C2-D520-0F5EDD4C039B}"/>
          </ac:spMkLst>
        </pc:spChg>
        <pc:graphicFrameChg chg="add del mod">
          <ac:chgData name="Gianluigi Liguori" userId="57fd9f51-5ba6-4365-b582-853c059ff100" providerId="ADAL" clId="{D7ECF901-E3F0-4D8A-A5A7-F8BE37A27083}" dt="2023-11-25T18:31:26.228" v="191"/>
          <ac:graphicFrameMkLst>
            <pc:docMk/>
            <pc:sldMk cId="2159309765" sldId="3694"/>
            <ac:graphicFrameMk id="4" creationId="{6DC2F04A-6450-ABF6-900D-17F25F5D1CFF}"/>
          </ac:graphicFrameMkLst>
        </pc:graphicFrameChg>
        <pc:picChg chg="add mod">
          <ac:chgData name="Gianluigi Liguori" userId="57fd9f51-5ba6-4365-b582-853c059ff100" providerId="ADAL" clId="{D7ECF901-E3F0-4D8A-A5A7-F8BE37A27083}" dt="2023-12-01T11:15:56.153" v="9835" actId="1076"/>
          <ac:picMkLst>
            <pc:docMk/>
            <pc:sldMk cId="2159309765" sldId="3694"/>
            <ac:picMk id="1026" creationId="{CD65B205-B672-0049-A548-67A783E88659}"/>
          </ac:picMkLst>
        </pc:picChg>
      </pc:sldChg>
      <pc:sldChg chg="addSp delSp modSp mod ord">
        <pc:chgData name="Gianluigi Liguori" userId="57fd9f51-5ba6-4365-b582-853c059ff100" providerId="ADAL" clId="{D7ECF901-E3F0-4D8A-A5A7-F8BE37A27083}" dt="2023-12-01T11:39:36.019" v="9918" actId="20577"/>
        <pc:sldMkLst>
          <pc:docMk/>
          <pc:sldMk cId="1631321656" sldId="3695"/>
        </pc:sldMkLst>
        <pc:spChg chg="mod">
          <ac:chgData name="Gianluigi Liguori" userId="57fd9f51-5ba6-4365-b582-853c059ff100" providerId="ADAL" clId="{D7ECF901-E3F0-4D8A-A5A7-F8BE37A27083}" dt="2023-12-01T11:39:36.019" v="9918" actId="20577"/>
          <ac:spMkLst>
            <pc:docMk/>
            <pc:sldMk cId="1631321656" sldId="3695"/>
            <ac:spMk id="2" creationId="{00000000-0000-0000-0000-000000000000}"/>
          </ac:spMkLst>
        </pc:spChg>
        <pc:spChg chg="add del">
          <ac:chgData name="Gianluigi Liguori" userId="57fd9f51-5ba6-4365-b582-853c059ff100" providerId="ADAL" clId="{D7ECF901-E3F0-4D8A-A5A7-F8BE37A27083}" dt="2023-11-29T23:15:44.943" v="8060" actId="22"/>
          <ac:spMkLst>
            <pc:docMk/>
            <pc:sldMk cId="1631321656" sldId="3695"/>
            <ac:spMk id="4" creationId="{F2E76DA1-D585-FC3D-0AE2-29D828CA889B}"/>
          </ac:spMkLst>
        </pc:spChg>
        <pc:spChg chg="add mod">
          <ac:chgData name="Gianluigi Liguori" userId="57fd9f51-5ba6-4365-b582-853c059ff100" providerId="ADAL" clId="{D7ECF901-E3F0-4D8A-A5A7-F8BE37A27083}" dt="2023-11-29T23:20:48.251" v="8079" actId="14100"/>
          <ac:spMkLst>
            <pc:docMk/>
            <pc:sldMk cId="1631321656" sldId="3695"/>
            <ac:spMk id="6" creationId="{1E1297AA-FB33-9A81-6E68-4DD1835E2A14}"/>
          </ac:spMkLst>
        </pc:spChg>
        <pc:spChg chg="add mod">
          <ac:chgData name="Gianluigi Liguori" userId="57fd9f51-5ba6-4365-b582-853c059ff100" providerId="ADAL" clId="{D7ECF901-E3F0-4D8A-A5A7-F8BE37A27083}" dt="2023-11-29T23:22:01.174" v="8154" actId="20577"/>
          <ac:spMkLst>
            <pc:docMk/>
            <pc:sldMk cId="1631321656" sldId="3695"/>
            <ac:spMk id="7" creationId="{19D03AAF-DDCE-8EB5-0DB7-A02EDC3B7739}"/>
          </ac:spMkLst>
        </pc:spChg>
        <pc:graphicFrameChg chg="del">
          <ac:chgData name="Gianluigi Liguori" userId="57fd9f51-5ba6-4365-b582-853c059ff100" providerId="ADAL" clId="{D7ECF901-E3F0-4D8A-A5A7-F8BE37A27083}" dt="2023-11-27T22:09:22.018" v="664" actId="478"/>
          <ac:graphicFrameMkLst>
            <pc:docMk/>
            <pc:sldMk cId="1631321656" sldId="3695"/>
            <ac:graphicFrameMk id="3" creationId="{21907264-24DB-8BFE-575B-18BA5C8CAA64}"/>
          </ac:graphicFrameMkLst>
        </pc:graphicFrameChg>
        <pc:picChg chg="add mod">
          <ac:chgData name="Gianluigi Liguori" userId="57fd9f51-5ba6-4365-b582-853c059ff100" providerId="ADAL" clId="{D7ECF901-E3F0-4D8A-A5A7-F8BE37A27083}" dt="2023-11-29T23:19:19.781" v="8062" actId="1076"/>
          <ac:picMkLst>
            <pc:docMk/>
            <pc:sldMk cId="1631321656" sldId="3695"/>
            <ac:picMk id="5" creationId="{F82CAE72-824B-C23F-42DB-199588F12456}"/>
          </ac:picMkLst>
        </pc:picChg>
      </pc:sldChg>
      <pc:sldChg chg="addSp delSp modSp mod ord">
        <pc:chgData name="Gianluigi Liguori" userId="57fd9f51-5ba6-4365-b582-853c059ff100" providerId="ADAL" clId="{D7ECF901-E3F0-4D8A-A5A7-F8BE37A27083}" dt="2023-12-01T11:39:33.684" v="9917" actId="20577"/>
        <pc:sldMkLst>
          <pc:docMk/>
          <pc:sldMk cId="834991529" sldId="3696"/>
        </pc:sldMkLst>
        <pc:spChg chg="mod">
          <ac:chgData name="Gianluigi Liguori" userId="57fd9f51-5ba6-4365-b582-853c059ff100" providerId="ADAL" clId="{D7ECF901-E3F0-4D8A-A5A7-F8BE37A27083}" dt="2023-12-01T11:39:33.684" v="9917" actId="20577"/>
          <ac:spMkLst>
            <pc:docMk/>
            <pc:sldMk cId="834991529" sldId="3696"/>
            <ac:spMk id="2" creationId="{00000000-0000-0000-0000-000000000000}"/>
          </ac:spMkLst>
        </pc:spChg>
        <pc:spChg chg="add mod">
          <ac:chgData name="Gianluigi Liguori" userId="57fd9f51-5ba6-4365-b582-853c059ff100" providerId="ADAL" clId="{D7ECF901-E3F0-4D8A-A5A7-F8BE37A27083}" dt="2023-11-29T23:10:57.509" v="7548" actId="33524"/>
          <ac:spMkLst>
            <pc:docMk/>
            <pc:sldMk cId="834991529" sldId="3696"/>
            <ac:spMk id="3" creationId="{D72309E9-B1CE-B53F-77AB-77004F09F524}"/>
          </ac:spMkLst>
        </pc:spChg>
        <pc:spChg chg="add mod">
          <ac:chgData name="Gianluigi Liguori" userId="57fd9f51-5ba6-4365-b582-853c059ff100" providerId="ADAL" clId="{D7ECF901-E3F0-4D8A-A5A7-F8BE37A27083}" dt="2023-11-29T23:15:31.799" v="8058" actId="20577"/>
          <ac:spMkLst>
            <pc:docMk/>
            <pc:sldMk cId="834991529" sldId="3696"/>
            <ac:spMk id="4" creationId="{4A1C0DAE-74E9-6CC5-E8AF-E576676B6DB2}"/>
          </ac:spMkLst>
        </pc:spChg>
        <pc:graphicFrameChg chg="del">
          <ac:chgData name="Gianluigi Liguori" userId="57fd9f51-5ba6-4365-b582-853c059ff100" providerId="ADAL" clId="{D7ECF901-E3F0-4D8A-A5A7-F8BE37A27083}" dt="2023-11-27T22:08:52.817" v="661" actId="478"/>
          <ac:graphicFrameMkLst>
            <pc:docMk/>
            <pc:sldMk cId="834991529" sldId="3696"/>
            <ac:graphicFrameMk id="4" creationId="{5A2A130B-FDCB-02F4-1E37-5E21D21B21A6}"/>
          </ac:graphicFrameMkLst>
        </pc:graphicFrameChg>
        <pc:picChg chg="add mod">
          <ac:chgData name="Gianluigi Liguori" userId="57fd9f51-5ba6-4365-b582-853c059ff100" providerId="ADAL" clId="{D7ECF901-E3F0-4D8A-A5A7-F8BE37A27083}" dt="2023-11-27T22:08:56.808" v="663" actId="1076"/>
          <ac:picMkLst>
            <pc:docMk/>
            <pc:sldMk cId="834991529" sldId="3696"/>
            <ac:picMk id="5" creationId="{99B65857-4382-2CFB-E45B-69E6F9315BB9}"/>
          </ac:picMkLst>
        </pc:picChg>
      </pc:sldChg>
      <pc:sldChg chg="addSp delSp modSp mod ord modClrScheme chgLayout">
        <pc:chgData name="Gianluigi Liguori" userId="57fd9f51-5ba6-4365-b582-853c059ff100" providerId="ADAL" clId="{D7ECF901-E3F0-4D8A-A5A7-F8BE37A27083}" dt="2023-12-01T14:52:00.373" v="10240" actId="20577"/>
        <pc:sldMkLst>
          <pc:docMk/>
          <pc:sldMk cId="3357175669" sldId="3697"/>
        </pc:sldMkLst>
        <pc:spChg chg="mod">
          <ac:chgData name="Gianluigi Liguori" userId="57fd9f51-5ba6-4365-b582-853c059ff100" providerId="ADAL" clId="{D7ECF901-E3F0-4D8A-A5A7-F8BE37A27083}" dt="2023-12-01T11:38:49.551" v="9892" actId="20577"/>
          <ac:spMkLst>
            <pc:docMk/>
            <pc:sldMk cId="3357175669" sldId="3697"/>
            <ac:spMk id="2" creationId="{00000000-0000-0000-0000-000000000000}"/>
          </ac:spMkLst>
        </pc:spChg>
        <pc:spChg chg="mod">
          <ac:chgData name="Gianluigi Liguori" userId="57fd9f51-5ba6-4365-b582-853c059ff100" providerId="ADAL" clId="{D7ECF901-E3F0-4D8A-A5A7-F8BE37A27083}" dt="2023-11-27T22:41:17.432" v="1275" actId="26606"/>
          <ac:spMkLst>
            <pc:docMk/>
            <pc:sldMk cId="3357175669" sldId="3697"/>
            <ac:spMk id="10" creationId="{A9D4E103-D0A6-6149-2D62-070286FCB9AA}"/>
          </ac:spMkLst>
        </pc:spChg>
        <pc:spChg chg="add mod">
          <ac:chgData name="Gianluigi Liguori" userId="57fd9f51-5ba6-4365-b582-853c059ff100" providerId="ADAL" clId="{D7ECF901-E3F0-4D8A-A5A7-F8BE37A27083}" dt="2023-11-27T22:41:17.432" v="1275" actId="26606"/>
          <ac:spMkLst>
            <pc:docMk/>
            <pc:sldMk cId="3357175669" sldId="3697"/>
            <ac:spMk id="11" creationId="{9099E37A-A448-D3B2-0042-D9CFF0F4FDE5}"/>
          </ac:spMkLst>
        </pc:spChg>
        <pc:spChg chg="add mod">
          <ac:chgData name="Gianluigi Liguori" userId="57fd9f51-5ba6-4365-b582-853c059ff100" providerId="ADAL" clId="{D7ECF901-E3F0-4D8A-A5A7-F8BE37A27083}" dt="2023-12-01T14:52:00.373" v="10240" actId="20577"/>
          <ac:spMkLst>
            <pc:docMk/>
            <pc:sldMk cId="3357175669" sldId="3697"/>
            <ac:spMk id="12" creationId="{34CCDED3-5F7A-957F-338C-E1223BC27D89}"/>
          </ac:spMkLst>
        </pc:spChg>
        <pc:spChg chg="add del mod">
          <ac:chgData name="Gianluigi Liguori" userId="57fd9f51-5ba6-4365-b582-853c059ff100" providerId="ADAL" clId="{D7ECF901-E3F0-4D8A-A5A7-F8BE37A27083}" dt="2023-11-27T22:20:00.520" v="781"/>
          <ac:spMkLst>
            <pc:docMk/>
            <pc:sldMk cId="3357175669" sldId="3697"/>
            <ac:spMk id="13" creationId="{CD7C9B88-DCE8-E7B0-03AC-F387AC8584A1}"/>
          </ac:spMkLst>
        </pc:spChg>
        <pc:spChg chg="add del mod">
          <ac:chgData name="Gianluigi Liguori" userId="57fd9f51-5ba6-4365-b582-853c059ff100" providerId="ADAL" clId="{D7ECF901-E3F0-4D8A-A5A7-F8BE37A27083}" dt="2023-11-27T22:41:17.432" v="1275" actId="26606"/>
          <ac:spMkLst>
            <pc:docMk/>
            <pc:sldMk cId="3357175669" sldId="3697"/>
            <ac:spMk id="17" creationId="{367371FA-1423-DD7E-4D8D-9EF8673AD730}"/>
          </ac:spMkLst>
        </pc:spChg>
        <pc:spChg chg="add del mod">
          <ac:chgData name="Gianluigi Liguori" userId="57fd9f51-5ba6-4365-b582-853c059ff100" providerId="ADAL" clId="{D7ECF901-E3F0-4D8A-A5A7-F8BE37A27083}" dt="2023-11-27T22:41:17.432" v="1275" actId="26606"/>
          <ac:spMkLst>
            <pc:docMk/>
            <pc:sldMk cId="3357175669" sldId="3697"/>
            <ac:spMk id="19" creationId="{CB4242D7-8AD1-4614-F600-85076CD9978B}"/>
          </ac:spMkLst>
        </pc:spChg>
        <pc:spChg chg="add del mod">
          <ac:chgData name="Gianluigi Liguori" userId="57fd9f51-5ba6-4365-b582-853c059ff100" providerId="ADAL" clId="{D7ECF901-E3F0-4D8A-A5A7-F8BE37A27083}" dt="2023-11-27T22:41:17.432" v="1275" actId="26606"/>
          <ac:spMkLst>
            <pc:docMk/>
            <pc:sldMk cId="3357175669" sldId="3697"/>
            <ac:spMk id="21" creationId="{AD60F208-561A-A534-FB4A-2750BDF734B0}"/>
          </ac:spMkLst>
        </pc:spChg>
        <pc:spChg chg="add del mod">
          <ac:chgData name="Gianluigi Liguori" userId="57fd9f51-5ba6-4365-b582-853c059ff100" providerId="ADAL" clId="{D7ECF901-E3F0-4D8A-A5A7-F8BE37A27083}" dt="2023-11-27T22:41:17.432" v="1275" actId="26606"/>
          <ac:spMkLst>
            <pc:docMk/>
            <pc:sldMk cId="3357175669" sldId="3697"/>
            <ac:spMk id="23" creationId="{F10F6C2E-34EE-B3F3-294F-B3F1D1466963}"/>
          </ac:spMkLst>
        </pc:spChg>
        <pc:spChg chg="add del mod">
          <ac:chgData name="Gianluigi Liguori" userId="57fd9f51-5ba6-4365-b582-853c059ff100" providerId="ADAL" clId="{D7ECF901-E3F0-4D8A-A5A7-F8BE37A27083}" dt="2023-11-27T22:41:17.432" v="1275" actId="26606"/>
          <ac:spMkLst>
            <pc:docMk/>
            <pc:sldMk cId="3357175669" sldId="3697"/>
            <ac:spMk id="25" creationId="{9221911B-6F3D-0D5B-19EF-A4BB5902F61B}"/>
          </ac:spMkLst>
        </pc:spChg>
        <pc:graphicFrameChg chg="del mod">
          <ac:chgData name="Gianluigi Liguori" userId="57fd9f51-5ba6-4365-b582-853c059ff100" providerId="ADAL" clId="{D7ECF901-E3F0-4D8A-A5A7-F8BE37A27083}" dt="2023-11-27T21:41:19.136" v="443" actId="478"/>
          <ac:graphicFrameMkLst>
            <pc:docMk/>
            <pc:sldMk cId="3357175669" sldId="3697"/>
            <ac:graphicFrameMk id="3" creationId="{E56C593A-6310-DBB5-9B54-E51594859A1E}"/>
          </ac:graphicFrameMkLst>
        </pc:graphicFrameChg>
        <pc:graphicFrameChg chg="add del mod">
          <ac:chgData name="Gianluigi Liguori" userId="57fd9f51-5ba6-4365-b582-853c059ff100" providerId="ADAL" clId="{D7ECF901-E3F0-4D8A-A5A7-F8BE37A27083}" dt="2023-11-27T21:42:26.979" v="453" actId="478"/>
          <ac:graphicFrameMkLst>
            <pc:docMk/>
            <pc:sldMk cId="3357175669" sldId="3697"/>
            <ac:graphicFrameMk id="4" creationId="{F89A95D9-E98C-C344-10B3-CA2C46616628}"/>
          </ac:graphicFrameMkLst>
        </pc:graphicFrameChg>
        <pc:graphicFrameChg chg="add del mod">
          <ac:chgData name="Gianluigi Liguori" userId="57fd9f51-5ba6-4365-b582-853c059ff100" providerId="ADAL" clId="{D7ECF901-E3F0-4D8A-A5A7-F8BE37A27083}" dt="2023-11-27T21:49:47.029" v="568" actId="478"/>
          <ac:graphicFrameMkLst>
            <pc:docMk/>
            <pc:sldMk cId="3357175669" sldId="3697"/>
            <ac:graphicFrameMk id="5" creationId="{F89A95D9-E98C-C344-10B3-CA2C46616628}"/>
          </ac:graphicFrameMkLst>
        </pc:graphicFrameChg>
        <pc:graphicFrameChg chg="add mod">
          <ac:chgData name="Gianluigi Liguori" userId="57fd9f51-5ba6-4365-b582-853c059ff100" providerId="ADAL" clId="{D7ECF901-E3F0-4D8A-A5A7-F8BE37A27083}" dt="2023-11-27T21:49:50.991" v="571"/>
          <ac:graphicFrameMkLst>
            <pc:docMk/>
            <pc:sldMk cId="3357175669" sldId="3697"/>
            <ac:graphicFrameMk id="6" creationId="{F89A95D9-E98C-C344-10B3-CA2C46616628}"/>
          </ac:graphicFrameMkLst>
        </pc:graphicFrameChg>
        <pc:picChg chg="add del mod">
          <ac:chgData name="Gianluigi Liguori" userId="57fd9f51-5ba6-4365-b582-853c059ff100" providerId="ADAL" clId="{D7ECF901-E3F0-4D8A-A5A7-F8BE37A27083}" dt="2023-11-27T21:51:07.188" v="584" actId="478"/>
          <ac:picMkLst>
            <pc:docMk/>
            <pc:sldMk cId="3357175669" sldId="3697"/>
            <ac:picMk id="7" creationId="{CBF7277A-9AB9-90B1-BFCE-56C1DC5BA5C3}"/>
          </ac:picMkLst>
        </pc:picChg>
        <pc:picChg chg="add mod">
          <ac:chgData name="Gianluigi Liguori" userId="57fd9f51-5ba6-4365-b582-853c059ff100" providerId="ADAL" clId="{D7ECF901-E3F0-4D8A-A5A7-F8BE37A27083}" dt="2023-11-27T22:41:17.432" v="1275" actId="26606"/>
          <ac:picMkLst>
            <pc:docMk/>
            <pc:sldMk cId="3357175669" sldId="3697"/>
            <ac:picMk id="9" creationId="{C0262497-908A-0129-AF7E-988853F1D764}"/>
          </ac:picMkLst>
        </pc:picChg>
      </pc:sldChg>
      <pc:sldChg chg="addSp delSp modSp add mod">
        <pc:chgData name="Gianluigi Liguori" userId="57fd9f51-5ba6-4365-b582-853c059ff100" providerId="ADAL" clId="{D7ECF901-E3F0-4D8A-A5A7-F8BE37A27083}" dt="2023-11-29T22:56:43.285" v="6853" actId="20577"/>
        <pc:sldMkLst>
          <pc:docMk/>
          <pc:sldMk cId="3644774548" sldId="3698"/>
        </pc:sldMkLst>
        <pc:spChg chg="mod">
          <ac:chgData name="Gianluigi Liguori" userId="57fd9f51-5ba6-4365-b582-853c059ff100" providerId="ADAL" clId="{D7ECF901-E3F0-4D8A-A5A7-F8BE37A27083}" dt="2023-11-29T22:51:45.467" v="6513" actId="20577"/>
          <ac:spMkLst>
            <pc:docMk/>
            <pc:sldMk cId="3644774548" sldId="3698"/>
            <ac:spMk id="2" creationId="{00000000-0000-0000-0000-000000000000}"/>
          </ac:spMkLst>
        </pc:spChg>
        <pc:spChg chg="add mod">
          <ac:chgData name="Gianluigi Liguori" userId="57fd9f51-5ba6-4365-b582-853c059ff100" providerId="ADAL" clId="{D7ECF901-E3F0-4D8A-A5A7-F8BE37A27083}" dt="2023-11-29T22:56:43.285" v="6853" actId="20577"/>
          <ac:spMkLst>
            <pc:docMk/>
            <pc:sldMk cId="3644774548" sldId="3698"/>
            <ac:spMk id="3" creationId="{2635CD3F-2F06-4256-674B-F1CA178AAC8A}"/>
          </ac:spMkLst>
        </pc:spChg>
        <pc:spChg chg="add mod">
          <ac:chgData name="Gianluigi Liguori" userId="57fd9f51-5ba6-4365-b582-853c059ff100" providerId="ADAL" clId="{D7ECF901-E3F0-4D8A-A5A7-F8BE37A27083}" dt="2023-11-29T22:54:24.695" v="6731" actId="20577"/>
          <ac:spMkLst>
            <pc:docMk/>
            <pc:sldMk cId="3644774548" sldId="3698"/>
            <ac:spMk id="4" creationId="{49F92E8C-4271-C7CD-0EC7-A2B55C857E4E}"/>
          </ac:spMkLst>
        </pc:spChg>
        <pc:graphicFrameChg chg="del">
          <ac:chgData name="Gianluigi Liguori" userId="57fd9f51-5ba6-4365-b582-853c059ff100" providerId="ADAL" clId="{D7ECF901-E3F0-4D8A-A5A7-F8BE37A27083}" dt="2023-11-27T22:07:07.243" v="652" actId="478"/>
          <ac:graphicFrameMkLst>
            <pc:docMk/>
            <pc:sldMk cId="3644774548" sldId="3698"/>
            <ac:graphicFrameMk id="4" creationId="{BB42D598-3704-DE5D-14BE-911679A64B67}"/>
          </ac:graphicFrameMkLst>
        </pc:graphicFrameChg>
        <pc:picChg chg="add mod">
          <ac:chgData name="Gianluigi Liguori" userId="57fd9f51-5ba6-4365-b582-853c059ff100" providerId="ADAL" clId="{D7ECF901-E3F0-4D8A-A5A7-F8BE37A27083}" dt="2023-11-27T22:07:10.653" v="654" actId="1076"/>
          <ac:picMkLst>
            <pc:docMk/>
            <pc:sldMk cId="3644774548" sldId="3698"/>
            <ac:picMk id="5" creationId="{5498A41F-73A2-A592-AE16-19A7181C3543}"/>
          </ac:picMkLst>
        </pc:picChg>
      </pc:sldChg>
      <pc:sldChg chg="modSp del mod">
        <pc:chgData name="Gianluigi Liguori" userId="57fd9f51-5ba6-4365-b582-853c059ff100" providerId="ADAL" clId="{D7ECF901-E3F0-4D8A-A5A7-F8BE37A27083}" dt="2023-11-27T21:17:34.759" v="393" actId="2696"/>
        <pc:sldMkLst>
          <pc:docMk/>
          <pc:sldMk cId="3851657343" sldId="3698"/>
        </pc:sldMkLst>
        <pc:spChg chg="mod">
          <ac:chgData name="Gianluigi Liguori" userId="57fd9f51-5ba6-4365-b582-853c059ff100" providerId="ADAL" clId="{D7ECF901-E3F0-4D8A-A5A7-F8BE37A27083}" dt="2023-11-27T21:17:02.924" v="392" actId="404"/>
          <ac:spMkLst>
            <pc:docMk/>
            <pc:sldMk cId="3851657343" sldId="3698"/>
            <ac:spMk id="2" creationId="{00000000-0000-0000-0000-000000000000}"/>
          </ac:spMkLst>
        </pc:spChg>
      </pc:sldChg>
      <pc:sldChg chg="addSp delSp modSp mod ord">
        <pc:chgData name="Gianluigi Liguori" userId="57fd9f51-5ba6-4365-b582-853c059ff100" providerId="ADAL" clId="{D7ECF901-E3F0-4D8A-A5A7-F8BE37A27083}" dt="2023-12-01T11:39:20.533" v="9913" actId="20577"/>
        <pc:sldMkLst>
          <pc:docMk/>
          <pc:sldMk cId="2733767430" sldId="3699"/>
        </pc:sldMkLst>
        <pc:spChg chg="mod">
          <ac:chgData name="Gianluigi Liguori" userId="57fd9f51-5ba6-4365-b582-853c059ff100" providerId="ADAL" clId="{D7ECF901-E3F0-4D8A-A5A7-F8BE37A27083}" dt="2023-12-01T11:39:20.533" v="9913" actId="20577"/>
          <ac:spMkLst>
            <pc:docMk/>
            <pc:sldMk cId="2733767430" sldId="3699"/>
            <ac:spMk id="2" creationId="{00000000-0000-0000-0000-000000000000}"/>
          </ac:spMkLst>
        </pc:spChg>
        <pc:spChg chg="add mod">
          <ac:chgData name="Gianluigi Liguori" userId="57fd9f51-5ba6-4365-b582-853c059ff100" providerId="ADAL" clId="{D7ECF901-E3F0-4D8A-A5A7-F8BE37A27083}" dt="2023-11-29T22:00:52.873" v="5202" actId="20577"/>
          <ac:spMkLst>
            <pc:docMk/>
            <pc:sldMk cId="2733767430" sldId="3699"/>
            <ac:spMk id="3" creationId="{C6BCE7A3-B386-917E-CA74-6617BE47CF5E}"/>
          </ac:spMkLst>
        </pc:spChg>
        <pc:spChg chg="add mod">
          <ac:chgData name="Gianluigi Liguori" userId="57fd9f51-5ba6-4365-b582-853c059ff100" providerId="ADAL" clId="{D7ECF901-E3F0-4D8A-A5A7-F8BE37A27083}" dt="2023-11-29T22:01:46.224" v="5328" actId="20577"/>
          <ac:spMkLst>
            <pc:docMk/>
            <pc:sldMk cId="2733767430" sldId="3699"/>
            <ac:spMk id="4" creationId="{7A9D9CE6-22B8-B20A-AB5B-8FE028BA1EC3}"/>
          </ac:spMkLst>
        </pc:spChg>
        <pc:spChg chg="mod">
          <ac:chgData name="Gianluigi Liguori" userId="57fd9f51-5ba6-4365-b582-853c059ff100" providerId="ADAL" clId="{D7ECF901-E3F0-4D8A-A5A7-F8BE37A27083}" dt="2023-11-29T21:58:02.500" v="4939"/>
          <ac:spMkLst>
            <pc:docMk/>
            <pc:sldMk cId="2733767430" sldId="3699"/>
            <ac:spMk id="10" creationId="{A9D4E103-D0A6-6149-2D62-070286FCB9AA}"/>
          </ac:spMkLst>
        </pc:spChg>
        <pc:graphicFrameChg chg="del">
          <ac:chgData name="Gianluigi Liguori" userId="57fd9f51-5ba6-4365-b582-853c059ff100" providerId="ADAL" clId="{D7ECF901-E3F0-4D8A-A5A7-F8BE37A27083}" dt="2023-11-27T22:03:12.667" v="643" actId="478"/>
          <ac:graphicFrameMkLst>
            <pc:docMk/>
            <pc:sldMk cId="2733767430" sldId="3699"/>
            <ac:graphicFrameMk id="3" creationId="{B74361EE-A55B-8DD6-8CDC-B7D6A3A04F63}"/>
          </ac:graphicFrameMkLst>
        </pc:graphicFrameChg>
        <pc:picChg chg="add mod">
          <ac:chgData name="Gianluigi Liguori" userId="57fd9f51-5ba6-4365-b582-853c059ff100" providerId="ADAL" clId="{D7ECF901-E3F0-4D8A-A5A7-F8BE37A27083}" dt="2023-11-27T22:03:28.109" v="645" actId="1076"/>
          <ac:picMkLst>
            <pc:docMk/>
            <pc:sldMk cId="2733767430" sldId="3699"/>
            <ac:picMk id="5" creationId="{FF51A149-66AD-C530-36A5-C09202E57765}"/>
          </ac:picMkLst>
        </pc:picChg>
      </pc:sldChg>
      <pc:sldChg chg="addSp delSp modSp mod ord">
        <pc:chgData name="Gianluigi Liguori" userId="57fd9f51-5ba6-4365-b582-853c059ff100" providerId="ADAL" clId="{D7ECF901-E3F0-4D8A-A5A7-F8BE37A27083}" dt="2023-12-01T11:39:28.740" v="9915" actId="20577"/>
        <pc:sldMkLst>
          <pc:docMk/>
          <pc:sldMk cId="1140108357" sldId="3700"/>
        </pc:sldMkLst>
        <pc:spChg chg="mod">
          <ac:chgData name="Gianluigi Liguori" userId="57fd9f51-5ba6-4365-b582-853c059ff100" providerId="ADAL" clId="{D7ECF901-E3F0-4D8A-A5A7-F8BE37A27083}" dt="2023-12-01T11:39:28.740" v="9915" actId="20577"/>
          <ac:spMkLst>
            <pc:docMk/>
            <pc:sldMk cId="1140108357" sldId="3700"/>
            <ac:spMk id="2" creationId="{00000000-0000-0000-0000-000000000000}"/>
          </ac:spMkLst>
        </pc:spChg>
        <pc:spChg chg="add mod">
          <ac:chgData name="Gianluigi Liguori" userId="57fd9f51-5ba6-4365-b582-853c059ff100" providerId="ADAL" clId="{D7ECF901-E3F0-4D8A-A5A7-F8BE37A27083}" dt="2023-11-29T22:59:56.881" v="7017" actId="20577"/>
          <ac:spMkLst>
            <pc:docMk/>
            <pc:sldMk cId="1140108357" sldId="3700"/>
            <ac:spMk id="3" creationId="{13714FA1-6B51-C1B9-7A3A-DC89EB0D839A}"/>
          </ac:spMkLst>
        </pc:spChg>
        <pc:spChg chg="add mod">
          <ac:chgData name="Gianluigi Liguori" userId="57fd9f51-5ba6-4365-b582-853c059ff100" providerId="ADAL" clId="{D7ECF901-E3F0-4D8A-A5A7-F8BE37A27083}" dt="2023-11-29T23:03:16.476" v="7224" actId="20577"/>
          <ac:spMkLst>
            <pc:docMk/>
            <pc:sldMk cId="1140108357" sldId="3700"/>
            <ac:spMk id="4" creationId="{4DA30775-C937-CC1C-B8D2-92B69FF18B1F}"/>
          </ac:spMkLst>
        </pc:spChg>
        <pc:graphicFrameChg chg="del">
          <ac:chgData name="Gianluigi Liguori" userId="57fd9f51-5ba6-4365-b582-853c059ff100" providerId="ADAL" clId="{D7ECF901-E3F0-4D8A-A5A7-F8BE37A27083}" dt="2023-11-27T22:07:20.193" v="655" actId="478"/>
          <ac:graphicFrameMkLst>
            <pc:docMk/>
            <pc:sldMk cId="1140108357" sldId="3700"/>
            <ac:graphicFrameMk id="4" creationId="{9A9DF1C1-5D64-1B80-7F86-1D3C73C6C2E0}"/>
          </ac:graphicFrameMkLst>
        </pc:graphicFrameChg>
        <pc:picChg chg="add mod">
          <ac:chgData name="Gianluigi Liguori" userId="57fd9f51-5ba6-4365-b582-853c059ff100" providerId="ADAL" clId="{D7ECF901-E3F0-4D8A-A5A7-F8BE37A27083}" dt="2023-11-27T22:07:50.315" v="657" actId="1076"/>
          <ac:picMkLst>
            <pc:docMk/>
            <pc:sldMk cId="1140108357" sldId="3700"/>
            <ac:picMk id="5" creationId="{7629D7FE-6E96-08F1-8890-7B018C72EEF3}"/>
          </ac:picMkLst>
        </pc:picChg>
      </pc:sldChg>
      <pc:sldChg chg="addSp delSp modSp mod ord">
        <pc:chgData name="Gianluigi Liguori" userId="57fd9f51-5ba6-4365-b582-853c059ff100" providerId="ADAL" clId="{D7ECF901-E3F0-4D8A-A5A7-F8BE37A27083}" dt="2023-12-01T11:39:31.050" v="9916" actId="20577"/>
        <pc:sldMkLst>
          <pc:docMk/>
          <pc:sldMk cId="4206164663" sldId="3701"/>
        </pc:sldMkLst>
        <pc:spChg chg="mod">
          <ac:chgData name="Gianluigi Liguori" userId="57fd9f51-5ba6-4365-b582-853c059ff100" providerId="ADAL" clId="{D7ECF901-E3F0-4D8A-A5A7-F8BE37A27083}" dt="2023-12-01T11:39:31.050" v="9916" actId="20577"/>
          <ac:spMkLst>
            <pc:docMk/>
            <pc:sldMk cId="4206164663" sldId="3701"/>
            <ac:spMk id="2" creationId="{00000000-0000-0000-0000-000000000000}"/>
          </ac:spMkLst>
        </pc:spChg>
        <pc:spChg chg="add mod">
          <ac:chgData name="Gianluigi Liguori" userId="57fd9f51-5ba6-4365-b582-853c059ff100" providerId="ADAL" clId="{D7ECF901-E3F0-4D8A-A5A7-F8BE37A27083}" dt="2023-11-29T23:07:39.378" v="7429" actId="20577"/>
          <ac:spMkLst>
            <pc:docMk/>
            <pc:sldMk cId="4206164663" sldId="3701"/>
            <ac:spMk id="3" creationId="{BFE4696D-6C58-70CB-FA8C-AA2E0804AB1F}"/>
          </ac:spMkLst>
        </pc:spChg>
        <pc:spChg chg="add mod">
          <ac:chgData name="Gianluigi Liguori" userId="57fd9f51-5ba6-4365-b582-853c059ff100" providerId="ADAL" clId="{D7ECF901-E3F0-4D8A-A5A7-F8BE37A27083}" dt="2023-11-29T23:08:53.881" v="7512" actId="20577"/>
          <ac:spMkLst>
            <pc:docMk/>
            <pc:sldMk cId="4206164663" sldId="3701"/>
            <ac:spMk id="4" creationId="{E480B781-B482-2B28-9364-EE37EAF2D476}"/>
          </ac:spMkLst>
        </pc:spChg>
        <pc:graphicFrameChg chg="del">
          <ac:chgData name="Gianluigi Liguori" userId="57fd9f51-5ba6-4365-b582-853c059ff100" providerId="ADAL" clId="{D7ECF901-E3F0-4D8A-A5A7-F8BE37A27083}" dt="2023-11-27T22:08:22.184" v="658" actId="478"/>
          <ac:graphicFrameMkLst>
            <pc:docMk/>
            <pc:sldMk cId="4206164663" sldId="3701"/>
            <ac:graphicFrameMk id="3" creationId="{51E5A9FE-BF5D-7418-5928-AF7E9C519B91}"/>
          </ac:graphicFrameMkLst>
        </pc:graphicFrameChg>
        <pc:picChg chg="add mod">
          <ac:chgData name="Gianluigi Liguori" userId="57fd9f51-5ba6-4365-b582-853c059ff100" providerId="ADAL" clId="{D7ECF901-E3F0-4D8A-A5A7-F8BE37A27083}" dt="2023-11-29T23:05:43.052" v="7235" actId="1076"/>
          <ac:picMkLst>
            <pc:docMk/>
            <pc:sldMk cId="4206164663" sldId="3701"/>
            <ac:picMk id="5" creationId="{BF22D695-F0B7-7D44-8E26-17F3DFBDE2B2}"/>
          </ac:picMkLst>
        </pc:picChg>
      </pc:sldChg>
      <pc:sldChg chg="addSp delSp modSp add mod">
        <pc:chgData name="Gianluigi Liguori" userId="57fd9f51-5ba6-4365-b582-853c059ff100" providerId="ADAL" clId="{D7ECF901-E3F0-4D8A-A5A7-F8BE37A27083}" dt="2023-11-29T22:50:09.089" v="6504" actId="1076"/>
        <pc:sldMkLst>
          <pc:docMk/>
          <pc:sldMk cId="949868475" sldId="3702"/>
        </pc:sldMkLst>
        <pc:spChg chg="add mod">
          <ac:chgData name="Gianluigi Liguori" userId="57fd9f51-5ba6-4365-b582-853c059ff100" providerId="ADAL" clId="{D7ECF901-E3F0-4D8A-A5A7-F8BE37A27083}" dt="2023-11-29T22:45:17.013" v="6317" actId="20577"/>
          <ac:spMkLst>
            <pc:docMk/>
            <pc:sldMk cId="949868475" sldId="3702"/>
            <ac:spMk id="3" creationId="{4E41644C-8998-86ED-3C45-A0194F4899B9}"/>
          </ac:spMkLst>
        </pc:spChg>
        <pc:spChg chg="add mod">
          <ac:chgData name="Gianluigi Liguori" userId="57fd9f51-5ba6-4365-b582-853c059ff100" providerId="ADAL" clId="{D7ECF901-E3F0-4D8A-A5A7-F8BE37A27083}" dt="2023-11-29T22:50:09.089" v="6504" actId="1076"/>
          <ac:spMkLst>
            <pc:docMk/>
            <pc:sldMk cId="949868475" sldId="3702"/>
            <ac:spMk id="4" creationId="{E16E6B2F-3A90-8C7F-0CB0-C0674E7D4A68}"/>
          </ac:spMkLst>
        </pc:spChg>
        <pc:spChg chg="mod">
          <ac:chgData name="Gianluigi Liguori" userId="57fd9f51-5ba6-4365-b582-853c059ff100" providerId="ADAL" clId="{D7ECF901-E3F0-4D8A-A5A7-F8BE37A27083}" dt="2023-11-29T22:48:15.797" v="6371" actId="1076"/>
          <ac:spMkLst>
            <pc:docMk/>
            <pc:sldMk cId="949868475" sldId="3702"/>
            <ac:spMk id="10" creationId="{A9D4E103-D0A6-6149-2D62-070286FCB9AA}"/>
          </ac:spMkLst>
        </pc:spChg>
        <pc:graphicFrameChg chg="del">
          <ac:chgData name="Gianluigi Liguori" userId="57fd9f51-5ba6-4365-b582-853c059ff100" providerId="ADAL" clId="{D7ECF901-E3F0-4D8A-A5A7-F8BE37A27083}" dt="2023-11-27T22:06:21.353" v="649" actId="478"/>
          <ac:graphicFrameMkLst>
            <pc:docMk/>
            <pc:sldMk cId="949868475" sldId="3702"/>
            <ac:graphicFrameMk id="4" creationId="{5AAEE7F5-8703-B95D-0A80-DF16B5DBC315}"/>
          </ac:graphicFrameMkLst>
        </pc:graphicFrameChg>
        <pc:picChg chg="add del mod">
          <ac:chgData name="Gianluigi Liguori" userId="57fd9f51-5ba6-4365-b582-853c059ff100" providerId="ADAL" clId="{D7ECF901-E3F0-4D8A-A5A7-F8BE37A27083}" dt="2023-11-29T22:46:26.729" v="6318" actId="478"/>
          <ac:picMkLst>
            <pc:docMk/>
            <pc:sldMk cId="949868475" sldId="3702"/>
            <ac:picMk id="5" creationId="{747E1902-E118-457D-3C98-3CC2CAD19F83}"/>
          </ac:picMkLst>
        </pc:picChg>
        <pc:picChg chg="add mod">
          <ac:chgData name="Gianluigi Liguori" userId="57fd9f51-5ba6-4365-b582-853c059ff100" providerId="ADAL" clId="{D7ECF901-E3F0-4D8A-A5A7-F8BE37A27083}" dt="2023-11-29T22:46:39.451" v="6322" actId="1076"/>
          <ac:picMkLst>
            <pc:docMk/>
            <pc:sldMk cId="949868475" sldId="3702"/>
            <ac:picMk id="7" creationId="{A6274C75-BC8E-4861-5DA3-9740E05AE7F6}"/>
          </ac:picMkLst>
        </pc:picChg>
      </pc:sldChg>
      <pc:sldChg chg="modSp del mod ord">
        <pc:chgData name="Gianluigi Liguori" userId="57fd9f51-5ba6-4365-b582-853c059ff100" providerId="ADAL" clId="{D7ECF901-E3F0-4D8A-A5A7-F8BE37A27083}" dt="2023-11-27T21:17:34.759" v="393" actId="2696"/>
        <pc:sldMkLst>
          <pc:docMk/>
          <pc:sldMk cId="2603397845" sldId="3702"/>
        </pc:sldMkLst>
        <pc:spChg chg="mod">
          <ac:chgData name="Gianluigi Liguori" userId="57fd9f51-5ba6-4365-b582-853c059ff100" providerId="ADAL" clId="{D7ECF901-E3F0-4D8A-A5A7-F8BE37A27083}" dt="2023-11-27T21:14:57.808" v="386" actId="404"/>
          <ac:spMkLst>
            <pc:docMk/>
            <pc:sldMk cId="2603397845" sldId="3702"/>
            <ac:spMk id="2" creationId="{00000000-0000-0000-0000-000000000000}"/>
          </ac:spMkLst>
        </pc:spChg>
      </pc:sldChg>
      <pc:sldChg chg="addSp delSp modSp mod ord">
        <pc:chgData name="Gianluigi Liguori" userId="57fd9f51-5ba6-4365-b582-853c059ff100" providerId="ADAL" clId="{D7ECF901-E3F0-4D8A-A5A7-F8BE37A27083}" dt="2023-12-01T11:39:41.051" v="9920" actId="20577"/>
        <pc:sldMkLst>
          <pc:docMk/>
          <pc:sldMk cId="1794392506" sldId="3703"/>
        </pc:sldMkLst>
        <pc:spChg chg="mod">
          <ac:chgData name="Gianluigi Liguori" userId="57fd9f51-5ba6-4365-b582-853c059ff100" providerId="ADAL" clId="{D7ECF901-E3F0-4D8A-A5A7-F8BE37A27083}" dt="2023-12-01T11:39:41.051" v="9920" actId="20577"/>
          <ac:spMkLst>
            <pc:docMk/>
            <pc:sldMk cId="1794392506" sldId="3703"/>
            <ac:spMk id="2" creationId="{00000000-0000-0000-0000-000000000000}"/>
          </ac:spMkLst>
        </pc:spChg>
        <pc:spChg chg="add mod">
          <ac:chgData name="Gianluigi Liguori" userId="57fd9f51-5ba6-4365-b582-853c059ff100" providerId="ADAL" clId="{D7ECF901-E3F0-4D8A-A5A7-F8BE37A27083}" dt="2023-11-29T23:37:28.926" v="9104" actId="20577"/>
          <ac:spMkLst>
            <pc:docMk/>
            <pc:sldMk cId="1794392506" sldId="3703"/>
            <ac:spMk id="3" creationId="{9C9548D3-EF81-2CC9-267E-81D93814C929}"/>
          </ac:spMkLst>
        </pc:spChg>
        <pc:spChg chg="add mod">
          <ac:chgData name="Gianluigi Liguori" userId="57fd9f51-5ba6-4365-b582-853c059ff100" providerId="ADAL" clId="{D7ECF901-E3F0-4D8A-A5A7-F8BE37A27083}" dt="2023-11-29T23:37:06.932" v="9101" actId="20577"/>
          <ac:spMkLst>
            <pc:docMk/>
            <pc:sldMk cId="1794392506" sldId="3703"/>
            <ac:spMk id="4" creationId="{E85A94DB-0FC7-186F-F924-C397628546A3}"/>
          </ac:spMkLst>
        </pc:spChg>
        <pc:graphicFrameChg chg="del">
          <ac:chgData name="Gianluigi Liguori" userId="57fd9f51-5ba6-4365-b582-853c059ff100" providerId="ADAL" clId="{D7ECF901-E3F0-4D8A-A5A7-F8BE37A27083}" dt="2023-11-27T22:12:43.889" v="707" actId="478"/>
          <ac:graphicFrameMkLst>
            <pc:docMk/>
            <pc:sldMk cId="1794392506" sldId="3703"/>
            <ac:graphicFrameMk id="3" creationId="{9620024D-939D-3D48-7779-595C649AE1CF}"/>
          </ac:graphicFrameMkLst>
        </pc:graphicFrameChg>
        <pc:picChg chg="add mod">
          <ac:chgData name="Gianluigi Liguori" userId="57fd9f51-5ba6-4365-b582-853c059ff100" providerId="ADAL" clId="{D7ECF901-E3F0-4D8A-A5A7-F8BE37A27083}" dt="2023-11-27T22:12:48.001" v="709" actId="1076"/>
          <ac:picMkLst>
            <pc:docMk/>
            <pc:sldMk cId="1794392506" sldId="3703"/>
            <ac:picMk id="5" creationId="{C6D37C1C-7CA3-79D7-8E09-F0F3B0071A96}"/>
          </ac:picMkLst>
        </pc:picChg>
      </pc:sldChg>
      <pc:sldChg chg="addSp modSp mod">
        <pc:chgData name="Gianluigi Liguori" userId="57fd9f51-5ba6-4365-b582-853c059ff100" providerId="ADAL" clId="{D7ECF901-E3F0-4D8A-A5A7-F8BE37A27083}" dt="2023-12-01T11:15:53.029" v="9833" actId="20577"/>
        <pc:sldMkLst>
          <pc:docMk/>
          <pc:sldMk cId="3475263733" sldId="3708"/>
        </pc:sldMkLst>
        <pc:spChg chg="mod">
          <ac:chgData name="Gianluigi Liguori" userId="57fd9f51-5ba6-4365-b582-853c059ff100" providerId="ADAL" clId="{D7ECF901-E3F0-4D8A-A5A7-F8BE37A27083}" dt="2023-12-01T11:15:53.029" v="9833" actId="20577"/>
          <ac:spMkLst>
            <pc:docMk/>
            <pc:sldMk cId="3475263733" sldId="3708"/>
            <ac:spMk id="2" creationId="{00000000-0000-0000-0000-000000000000}"/>
          </ac:spMkLst>
        </pc:spChg>
        <pc:spChg chg="mod">
          <ac:chgData name="Gianluigi Liguori" userId="57fd9f51-5ba6-4365-b582-853c059ff100" providerId="ADAL" clId="{D7ECF901-E3F0-4D8A-A5A7-F8BE37A27083}" dt="2023-11-27T22:18:11.931" v="735" actId="1076"/>
          <ac:spMkLst>
            <pc:docMk/>
            <pc:sldMk cId="3475263733" sldId="3708"/>
            <ac:spMk id="3" creationId="{EB0EF1DD-C4B8-5E4D-241C-AB880D6D6124}"/>
          </ac:spMkLst>
        </pc:spChg>
        <pc:spChg chg="add mod">
          <ac:chgData name="Gianluigi Liguori" userId="57fd9f51-5ba6-4365-b582-853c059ff100" providerId="ADAL" clId="{D7ECF901-E3F0-4D8A-A5A7-F8BE37A27083}" dt="2023-11-27T22:18:16.522" v="736" actId="1076"/>
          <ac:spMkLst>
            <pc:docMk/>
            <pc:sldMk cId="3475263733" sldId="3708"/>
            <ac:spMk id="4" creationId="{DE60D4BB-BDBC-033D-B4C3-0D96564CD154}"/>
          </ac:spMkLst>
        </pc:spChg>
      </pc:sldChg>
      <pc:sldChg chg="addSp delSp modSp mod modClrScheme chgLayout">
        <pc:chgData name="Gianluigi Liguori" userId="57fd9f51-5ba6-4365-b582-853c059ff100" providerId="ADAL" clId="{D7ECF901-E3F0-4D8A-A5A7-F8BE37A27083}" dt="2023-12-01T11:11:39.203" v="9716" actId="1076"/>
        <pc:sldMkLst>
          <pc:docMk/>
          <pc:sldMk cId="3512159911" sldId="3709"/>
        </pc:sldMkLst>
        <pc:spChg chg="mod">
          <ac:chgData name="Gianluigi Liguori" userId="57fd9f51-5ba6-4365-b582-853c059ff100" providerId="ADAL" clId="{D7ECF901-E3F0-4D8A-A5A7-F8BE37A27083}" dt="2023-12-01T11:11:39.203" v="9716" actId="1076"/>
          <ac:spMkLst>
            <pc:docMk/>
            <pc:sldMk cId="3512159911" sldId="3709"/>
            <ac:spMk id="2" creationId="{00000000-0000-0000-0000-000000000000}"/>
          </ac:spMkLst>
        </pc:spChg>
        <pc:spChg chg="mod ord">
          <ac:chgData name="Gianluigi Liguori" userId="57fd9f51-5ba6-4365-b582-853c059ff100" providerId="ADAL" clId="{D7ECF901-E3F0-4D8A-A5A7-F8BE37A27083}" dt="2023-12-01T11:11:36.203" v="9715" actId="1076"/>
          <ac:spMkLst>
            <pc:docMk/>
            <pc:sldMk cId="3512159911" sldId="3709"/>
            <ac:spMk id="3" creationId="{EB0EF1DD-C4B8-5E4D-241C-AB880D6D6124}"/>
          </ac:spMkLst>
        </pc:spChg>
        <pc:spChg chg="add del mod">
          <ac:chgData name="Gianluigi Liguori" userId="57fd9f51-5ba6-4365-b582-853c059ff100" providerId="ADAL" clId="{D7ECF901-E3F0-4D8A-A5A7-F8BE37A27083}" dt="2023-11-25T18:27:12.697" v="180" actId="26606"/>
          <ac:spMkLst>
            <pc:docMk/>
            <pc:sldMk cId="3512159911" sldId="3709"/>
            <ac:spMk id="7" creationId="{FAC64839-4BA5-246F-F15B-6E992A0D5B31}"/>
          </ac:spMkLst>
        </pc:spChg>
        <pc:spChg chg="add del mod">
          <ac:chgData name="Gianluigi Liguori" userId="57fd9f51-5ba6-4365-b582-853c059ff100" providerId="ADAL" clId="{D7ECF901-E3F0-4D8A-A5A7-F8BE37A27083}" dt="2023-11-25T18:27:12.697" v="180" actId="26606"/>
          <ac:spMkLst>
            <pc:docMk/>
            <pc:sldMk cId="3512159911" sldId="3709"/>
            <ac:spMk id="8" creationId="{666EB7BF-ED96-737E-F3AD-754A7BE2F8B3}"/>
          </ac:spMkLst>
        </pc:spChg>
        <pc:spChg chg="add del mod">
          <ac:chgData name="Gianluigi Liguori" userId="57fd9f51-5ba6-4365-b582-853c059ff100" providerId="ADAL" clId="{D7ECF901-E3F0-4D8A-A5A7-F8BE37A27083}" dt="2023-11-25T18:27:12.697" v="180" actId="26606"/>
          <ac:spMkLst>
            <pc:docMk/>
            <pc:sldMk cId="3512159911" sldId="3709"/>
            <ac:spMk id="9" creationId="{28A8FB5E-ED8C-D70D-065C-C8AFE428379D}"/>
          </ac:spMkLst>
        </pc:spChg>
        <pc:spChg chg="add del mod">
          <ac:chgData name="Gianluigi Liguori" userId="57fd9f51-5ba6-4365-b582-853c059ff100" providerId="ADAL" clId="{D7ECF901-E3F0-4D8A-A5A7-F8BE37A27083}" dt="2023-11-25T18:27:05.718" v="175" actId="26606"/>
          <ac:spMkLst>
            <pc:docMk/>
            <pc:sldMk cId="3512159911" sldId="3709"/>
            <ac:spMk id="10" creationId="{FAC64839-4BA5-246F-F15B-6E992A0D5B31}"/>
          </ac:spMkLst>
        </pc:spChg>
        <pc:spChg chg="add del mod">
          <ac:chgData name="Gianluigi Liguori" userId="57fd9f51-5ba6-4365-b582-853c059ff100" providerId="ADAL" clId="{D7ECF901-E3F0-4D8A-A5A7-F8BE37A27083}" dt="2023-11-25T18:27:12.697" v="180" actId="26606"/>
          <ac:spMkLst>
            <pc:docMk/>
            <pc:sldMk cId="3512159911" sldId="3709"/>
            <ac:spMk id="11" creationId="{46C96820-76DB-A592-B991-0E12642913FA}"/>
          </ac:spMkLst>
        </pc:spChg>
        <pc:spChg chg="add del mod">
          <ac:chgData name="Gianluigi Liguori" userId="57fd9f51-5ba6-4365-b582-853c059ff100" providerId="ADAL" clId="{D7ECF901-E3F0-4D8A-A5A7-F8BE37A27083}" dt="2023-11-25T18:27:05.718" v="175" actId="26606"/>
          <ac:spMkLst>
            <pc:docMk/>
            <pc:sldMk cId="3512159911" sldId="3709"/>
            <ac:spMk id="12" creationId="{666EB7BF-ED96-737E-F3AD-754A7BE2F8B3}"/>
          </ac:spMkLst>
        </pc:spChg>
        <pc:spChg chg="add del mod">
          <ac:chgData name="Gianluigi Liguori" userId="57fd9f51-5ba6-4365-b582-853c059ff100" providerId="ADAL" clId="{D7ECF901-E3F0-4D8A-A5A7-F8BE37A27083}" dt="2023-11-25T18:27:05.718" v="175" actId="26606"/>
          <ac:spMkLst>
            <pc:docMk/>
            <pc:sldMk cId="3512159911" sldId="3709"/>
            <ac:spMk id="14" creationId="{28A8FB5E-ED8C-D70D-065C-C8AFE428379D}"/>
          </ac:spMkLst>
        </pc:spChg>
        <pc:spChg chg="add del mod">
          <ac:chgData name="Gianluigi Liguori" userId="57fd9f51-5ba6-4365-b582-853c059ff100" providerId="ADAL" clId="{D7ECF901-E3F0-4D8A-A5A7-F8BE37A27083}" dt="2023-11-25T18:27:05.718" v="175" actId="26606"/>
          <ac:spMkLst>
            <pc:docMk/>
            <pc:sldMk cId="3512159911" sldId="3709"/>
            <ac:spMk id="16" creationId="{46C96820-76DB-A592-B991-0E12642913FA}"/>
          </ac:spMkLst>
        </pc:spChg>
        <pc:picChg chg="mod ord">
          <ac:chgData name="Gianluigi Liguori" userId="57fd9f51-5ba6-4365-b582-853c059ff100" providerId="ADAL" clId="{D7ECF901-E3F0-4D8A-A5A7-F8BE37A27083}" dt="2023-11-25T18:27:14.468" v="182" actId="26606"/>
          <ac:picMkLst>
            <pc:docMk/>
            <pc:sldMk cId="3512159911" sldId="3709"/>
            <ac:picMk id="5" creationId="{C6FFA5FE-E895-90A1-134C-68B6BD2C7203}"/>
          </ac:picMkLst>
        </pc:picChg>
      </pc:sldChg>
      <pc:sldChg chg="addSp delSp modSp add mod">
        <pc:chgData name="Gianluigi Liguori" userId="57fd9f51-5ba6-4365-b582-853c059ff100" providerId="ADAL" clId="{D7ECF901-E3F0-4D8A-A5A7-F8BE37A27083}" dt="2023-12-01T11:38:53.355" v="9893" actId="20577"/>
        <pc:sldMkLst>
          <pc:docMk/>
          <pc:sldMk cId="1935661120" sldId="2134804649"/>
        </pc:sldMkLst>
        <pc:spChg chg="mod">
          <ac:chgData name="Gianluigi Liguori" userId="57fd9f51-5ba6-4365-b582-853c059ff100" providerId="ADAL" clId="{D7ECF901-E3F0-4D8A-A5A7-F8BE37A27083}" dt="2023-12-01T11:38:53.355" v="9893" actId="20577"/>
          <ac:spMkLst>
            <pc:docMk/>
            <pc:sldMk cId="1935661120" sldId="2134804649"/>
            <ac:spMk id="2" creationId="{00000000-0000-0000-0000-000000000000}"/>
          </ac:spMkLst>
        </pc:spChg>
        <pc:spChg chg="add mod">
          <ac:chgData name="Gianluigi Liguori" userId="57fd9f51-5ba6-4365-b582-853c059ff100" providerId="ADAL" clId="{D7ECF901-E3F0-4D8A-A5A7-F8BE37A27083}" dt="2023-11-27T22:41:25.273" v="1278" actId="20577"/>
          <ac:spMkLst>
            <pc:docMk/>
            <pc:sldMk cId="1935661120" sldId="2134804649"/>
            <ac:spMk id="7" creationId="{A00D6B87-6AB2-0E6F-8EAB-4C7004CB5998}"/>
          </ac:spMkLst>
        </pc:spChg>
        <pc:spChg chg="add mod">
          <ac:chgData name="Gianluigi Liguori" userId="57fd9f51-5ba6-4365-b582-853c059ff100" providerId="ADAL" clId="{D7ECF901-E3F0-4D8A-A5A7-F8BE37A27083}" dt="2023-11-27T22:40:52.517" v="1253" actId="20577"/>
          <ac:spMkLst>
            <pc:docMk/>
            <pc:sldMk cId="1935661120" sldId="2134804649"/>
            <ac:spMk id="8" creationId="{06A3F60E-C445-9476-5F3C-F0F28DA4BE27}"/>
          </ac:spMkLst>
        </pc:spChg>
        <pc:spChg chg="mod">
          <ac:chgData name="Gianluigi Liguori" userId="57fd9f51-5ba6-4365-b582-853c059ff100" providerId="ADAL" clId="{D7ECF901-E3F0-4D8A-A5A7-F8BE37A27083}" dt="2023-11-28T22:30:02.911" v="3214" actId="20577"/>
          <ac:spMkLst>
            <pc:docMk/>
            <pc:sldMk cId="1935661120" sldId="2134804649"/>
            <ac:spMk id="10" creationId="{A9D4E103-D0A6-6149-2D62-070286FCB9AA}"/>
          </ac:spMkLst>
        </pc:spChg>
        <pc:graphicFrameChg chg="del">
          <ac:chgData name="Gianluigi Liguori" userId="57fd9f51-5ba6-4365-b582-853c059ff100" providerId="ADAL" clId="{D7ECF901-E3F0-4D8A-A5A7-F8BE37A27083}" dt="2023-11-27T21:54:03.267" v="590" actId="478"/>
          <ac:graphicFrameMkLst>
            <pc:docMk/>
            <pc:sldMk cId="1935661120" sldId="2134804649"/>
            <ac:graphicFrameMk id="3" creationId="{E56C593A-6310-DBB5-9B54-E51594859A1E}"/>
          </ac:graphicFrameMkLst>
        </pc:graphicFrameChg>
        <pc:picChg chg="add del mod">
          <ac:chgData name="Gianluigi Liguori" userId="57fd9f51-5ba6-4365-b582-853c059ff100" providerId="ADAL" clId="{D7ECF901-E3F0-4D8A-A5A7-F8BE37A27083}" dt="2023-11-27T21:57:43.419" v="609" actId="478"/>
          <ac:picMkLst>
            <pc:docMk/>
            <pc:sldMk cId="1935661120" sldId="2134804649"/>
            <ac:picMk id="4" creationId="{EBED1824-5109-F8BE-216D-BFF152B77B87}"/>
          </ac:picMkLst>
        </pc:picChg>
        <pc:picChg chg="add mod">
          <ac:chgData name="Gianluigi Liguori" userId="57fd9f51-5ba6-4365-b582-853c059ff100" providerId="ADAL" clId="{D7ECF901-E3F0-4D8A-A5A7-F8BE37A27083}" dt="2023-11-27T21:57:58.265" v="612" actId="1076"/>
          <ac:picMkLst>
            <pc:docMk/>
            <pc:sldMk cId="1935661120" sldId="2134804649"/>
            <ac:picMk id="6" creationId="{CF530C9B-7763-21D5-8F37-863A620068A5}"/>
          </ac:picMkLst>
        </pc:picChg>
      </pc:sldChg>
      <pc:sldChg chg="new del">
        <pc:chgData name="Gianluigi Liguori" userId="57fd9f51-5ba6-4365-b582-853c059ff100" providerId="ADAL" clId="{D7ECF901-E3F0-4D8A-A5A7-F8BE37A27083}" dt="2023-11-25T18:46:21.914" v="249" actId="680"/>
        <pc:sldMkLst>
          <pc:docMk/>
          <pc:sldMk cId="3689020086" sldId="2134804649"/>
        </pc:sldMkLst>
      </pc:sldChg>
      <pc:sldChg chg="addSp delSp modSp add mod">
        <pc:chgData name="Gianluigi Liguori" userId="57fd9f51-5ba6-4365-b582-853c059ff100" providerId="ADAL" clId="{D7ECF901-E3F0-4D8A-A5A7-F8BE37A27083}" dt="2023-12-01T14:56:53.624" v="10272" actId="20577"/>
        <pc:sldMkLst>
          <pc:docMk/>
          <pc:sldMk cId="2571436439" sldId="2134804650"/>
        </pc:sldMkLst>
        <pc:spChg chg="mod">
          <ac:chgData name="Gianluigi Liguori" userId="57fd9f51-5ba6-4365-b582-853c059ff100" providerId="ADAL" clId="{D7ECF901-E3F0-4D8A-A5A7-F8BE37A27083}" dt="2023-12-01T11:38:58.175" v="9900" actId="20577"/>
          <ac:spMkLst>
            <pc:docMk/>
            <pc:sldMk cId="2571436439" sldId="2134804650"/>
            <ac:spMk id="2" creationId="{00000000-0000-0000-0000-000000000000}"/>
          </ac:spMkLst>
        </pc:spChg>
        <pc:spChg chg="add mod">
          <ac:chgData name="Gianluigi Liguori" userId="57fd9f51-5ba6-4365-b582-853c059ff100" providerId="ADAL" clId="{D7ECF901-E3F0-4D8A-A5A7-F8BE37A27083}" dt="2023-12-01T14:56:53.624" v="10272" actId="20577"/>
          <ac:spMkLst>
            <pc:docMk/>
            <pc:sldMk cId="2571436439" sldId="2134804650"/>
            <ac:spMk id="7" creationId="{620426FD-00A7-D550-EF08-62A025E5EB14}"/>
          </ac:spMkLst>
        </pc:spChg>
        <pc:spChg chg="add mod">
          <ac:chgData name="Gianluigi Liguori" userId="57fd9f51-5ba6-4365-b582-853c059ff100" providerId="ADAL" clId="{D7ECF901-E3F0-4D8A-A5A7-F8BE37A27083}" dt="2023-11-27T22:59:39.914" v="1851" actId="20577"/>
          <ac:spMkLst>
            <pc:docMk/>
            <pc:sldMk cId="2571436439" sldId="2134804650"/>
            <ac:spMk id="8" creationId="{1E98E8A6-B1C8-36ED-8C7C-D45FEA91D758}"/>
          </ac:spMkLst>
        </pc:spChg>
        <pc:spChg chg="mod">
          <ac:chgData name="Gianluigi Liguori" userId="57fd9f51-5ba6-4365-b582-853c059ff100" providerId="ADAL" clId="{D7ECF901-E3F0-4D8A-A5A7-F8BE37A27083}" dt="2023-11-27T22:51:46.384" v="1336"/>
          <ac:spMkLst>
            <pc:docMk/>
            <pc:sldMk cId="2571436439" sldId="2134804650"/>
            <ac:spMk id="10" creationId="{A9D4E103-D0A6-6149-2D62-070286FCB9AA}"/>
          </ac:spMkLst>
        </pc:spChg>
        <pc:graphicFrameChg chg="del">
          <ac:chgData name="Gianluigi Liguori" userId="57fd9f51-5ba6-4365-b582-853c059ff100" providerId="ADAL" clId="{D7ECF901-E3F0-4D8A-A5A7-F8BE37A27083}" dt="2023-11-27T21:54:10.268" v="592" actId="478"/>
          <ac:graphicFrameMkLst>
            <pc:docMk/>
            <pc:sldMk cId="2571436439" sldId="2134804650"/>
            <ac:graphicFrameMk id="3" creationId="{E56C593A-6310-DBB5-9B54-E51594859A1E}"/>
          </ac:graphicFrameMkLst>
        </pc:graphicFrameChg>
        <pc:picChg chg="add del mod">
          <ac:chgData name="Gianluigi Liguori" userId="57fd9f51-5ba6-4365-b582-853c059ff100" providerId="ADAL" clId="{D7ECF901-E3F0-4D8A-A5A7-F8BE37A27083}" dt="2023-11-27T21:58:37.352" v="613" actId="478"/>
          <ac:picMkLst>
            <pc:docMk/>
            <pc:sldMk cId="2571436439" sldId="2134804650"/>
            <ac:picMk id="4" creationId="{543ACA84-B96B-BCD0-3424-342BC242187D}"/>
          </ac:picMkLst>
        </pc:picChg>
        <pc:picChg chg="add mod">
          <ac:chgData name="Gianluigi Liguori" userId="57fd9f51-5ba6-4365-b582-853c059ff100" providerId="ADAL" clId="{D7ECF901-E3F0-4D8A-A5A7-F8BE37A27083}" dt="2023-11-27T21:58:40.808" v="615" actId="1076"/>
          <ac:picMkLst>
            <pc:docMk/>
            <pc:sldMk cId="2571436439" sldId="2134804650"/>
            <ac:picMk id="6" creationId="{550AB831-9CD8-713F-1D95-E2D20ADE80AA}"/>
          </ac:picMkLst>
        </pc:picChg>
      </pc:sldChg>
      <pc:sldChg chg="addSp delSp modSp add mod">
        <pc:chgData name="Gianluigi Liguori" userId="57fd9f51-5ba6-4365-b582-853c059ff100" providerId="ADAL" clId="{D7ECF901-E3F0-4D8A-A5A7-F8BE37A27083}" dt="2023-12-01T14:59:41.081" v="10273" actId="14100"/>
        <pc:sldMkLst>
          <pc:docMk/>
          <pc:sldMk cId="1984859937" sldId="2134804651"/>
        </pc:sldMkLst>
        <pc:spChg chg="mod">
          <ac:chgData name="Gianluigi Liguori" userId="57fd9f51-5ba6-4365-b582-853c059ff100" providerId="ADAL" clId="{D7ECF901-E3F0-4D8A-A5A7-F8BE37A27083}" dt="2023-12-01T11:39:01.676" v="9903" actId="20577"/>
          <ac:spMkLst>
            <pc:docMk/>
            <pc:sldMk cId="1984859937" sldId="2134804651"/>
            <ac:spMk id="2" creationId="{00000000-0000-0000-0000-000000000000}"/>
          </ac:spMkLst>
        </pc:spChg>
        <pc:spChg chg="add mod">
          <ac:chgData name="Gianluigi Liguori" userId="57fd9f51-5ba6-4365-b582-853c059ff100" providerId="ADAL" clId="{D7ECF901-E3F0-4D8A-A5A7-F8BE37A27083}" dt="2023-12-01T14:59:41.081" v="10273" actId="14100"/>
          <ac:spMkLst>
            <pc:docMk/>
            <pc:sldMk cId="1984859937" sldId="2134804651"/>
            <ac:spMk id="3" creationId="{490B070C-E729-4858-9418-0BF12061B521}"/>
          </ac:spMkLst>
        </pc:spChg>
        <pc:spChg chg="add mod">
          <ac:chgData name="Gianluigi Liguori" userId="57fd9f51-5ba6-4365-b582-853c059ff100" providerId="ADAL" clId="{D7ECF901-E3F0-4D8A-A5A7-F8BE37A27083}" dt="2023-11-29T21:01:47.030" v="4732"/>
          <ac:spMkLst>
            <pc:docMk/>
            <pc:sldMk cId="1984859937" sldId="2134804651"/>
            <ac:spMk id="4" creationId="{6DF1FD87-BBB4-6523-650E-CBEB81A5C46A}"/>
          </ac:spMkLst>
        </pc:spChg>
        <pc:spChg chg="mod">
          <ac:chgData name="Gianluigi Liguori" userId="57fd9f51-5ba6-4365-b582-853c059ff100" providerId="ADAL" clId="{D7ECF901-E3F0-4D8A-A5A7-F8BE37A27083}" dt="2023-11-28T22:29:42.974" v="3173" actId="20577"/>
          <ac:spMkLst>
            <pc:docMk/>
            <pc:sldMk cId="1984859937" sldId="2134804651"/>
            <ac:spMk id="10" creationId="{A9D4E103-D0A6-6149-2D62-070286FCB9AA}"/>
          </ac:spMkLst>
        </pc:spChg>
        <pc:graphicFrameChg chg="del">
          <ac:chgData name="Gianluigi Liguori" userId="57fd9f51-5ba6-4365-b582-853c059ff100" providerId="ADAL" clId="{D7ECF901-E3F0-4D8A-A5A7-F8BE37A27083}" dt="2023-11-27T21:54:26.699" v="595" actId="478"/>
          <ac:graphicFrameMkLst>
            <pc:docMk/>
            <pc:sldMk cId="1984859937" sldId="2134804651"/>
            <ac:graphicFrameMk id="3" creationId="{E56C593A-6310-DBB5-9B54-E51594859A1E}"/>
          </ac:graphicFrameMkLst>
        </pc:graphicFrameChg>
        <pc:picChg chg="add del mod">
          <ac:chgData name="Gianluigi Liguori" userId="57fd9f51-5ba6-4365-b582-853c059ff100" providerId="ADAL" clId="{D7ECF901-E3F0-4D8A-A5A7-F8BE37A27083}" dt="2023-11-27T21:59:33.149" v="616" actId="478"/>
          <ac:picMkLst>
            <pc:docMk/>
            <pc:sldMk cId="1984859937" sldId="2134804651"/>
            <ac:picMk id="4" creationId="{1D243C8D-34D0-EF1B-31D4-15FC54F25B18}"/>
          </ac:picMkLst>
        </pc:picChg>
        <pc:picChg chg="add mod">
          <ac:chgData name="Gianluigi Liguori" userId="57fd9f51-5ba6-4365-b582-853c059ff100" providerId="ADAL" clId="{D7ECF901-E3F0-4D8A-A5A7-F8BE37A27083}" dt="2023-11-27T21:59:37.732" v="618" actId="1076"/>
          <ac:picMkLst>
            <pc:docMk/>
            <pc:sldMk cId="1984859937" sldId="2134804651"/>
            <ac:picMk id="6" creationId="{73C812AF-7ACE-939D-35C9-7EDF1BA4FBCC}"/>
          </ac:picMkLst>
        </pc:picChg>
      </pc:sldChg>
      <pc:sldChg chg="addSp delSp modSp add mod">
        <pc:chgData name="Gianluigi Liguori" userId="57fd9f51-5ba6-4365-b582-853c059ff100" providerId="ADAL" clId="{D7ECF901-E3F0-4D8A-A5A7-F8BE37A27083}" dt="2023-12-01T11:39:05.851" v="9906" actId="20577"/>
        <pc:sldMkLst>
          <pc:docMk/>
          <pc:sldMk cId="1464327994" sldId="2134804652"/>
        </pc:sldMkLst>
        <pc:spChg chg="mod">
          <ac:chgData name="Gianluigi Liguori" userId="57fd9f51-5ba6-4365-b582-853c059ff100" providerId="ADAL" clId="{D7ECF901-E3F0-4D8A-A5A7-F8BE37A27083}" dt="2023-12-01T11:39:05.851" v="9906" actId="20577"/>
          <ac:spMkLst>
            <pc:docMk/>
            <pc:sldMk cId="1464327994" sldId="2134804652"/>
            <ac:spMk id="2" creationId="{00000000-0000-0000-0000-000000000000}"/>
          </ac:spMkLst>
        </pc:spChg>
        <pc:spChg chg="add mod">
          <ac:chgData name="Gianluigi Liguori" userId="57fd9f51-5ba6-4365-b582-853c059ff100" providerId="ADAL" clId="{D7ECF901-E3F0-4D8A-A5A7-F8BE37A27083}" dt="2023-11-28T22:20:11.556" v="2854" actId="20577"/>
          <ac:spMkLst>
            <pc:docMk/>
            <pc:sldMk cId="1464327994" sldId="2134804652"/>
            <ac:spMk id="3" creationId="{B10921BA-1BC5-60CB-70EB-C81739FB63CF}"/>
          </ac:spMkLst>
        </pc:spChg>
        <pc:spChg chg="add mod">
          <ac:chgData name="Gianluigi Liguori" userId="57fd9f51-5ba6-4365-b582-853c059ff100" providerId="ADAL" clId="{D7ECF901-E3F0-4D8A-A5A7-F8BE37A27083}" dt="2023-11-28T22:20:37.494" v="2962" actId="20577"/>
          <ac:spMkLst>
            <pc:docMk/>
            <pc:sldMk cId="1464327994" sldId="2134804652"/>
            <ac:spMk id="4" creationId="{CC1AC8B1-F9C6-3E81-97B5-42893D422B0E}"/>
          </ac:spMkLst>
        </pc:spChg>
        <pc:spChg chg="add del">
          <ac:chgData name="Gianluigi Liguori" userId="57fd9f51-5ba6-4365-b582-853c059ff100" providerId="ADAL" clId="{D7ECF901-E3F0-4D8A-A5A7-F8BE37A27083}" dt="2023-11-28T22:17:26.464" v="2732"/>
          <ac:spMkLst>
            <pc:docMk/>
            <pc:sldMk cId="1464327994" sldId="2134804652"/>
            <ac:spMk id="5" creationId="{4F82FECA-81F6-C362-9CFE-B04BD1A93D69}"/>
          </ac:spMkLst>
        </pc:spChg>
        <pc:spChg chg="add del mod">
          <ac:chgData name="Gianluigi Liguori" userId="57fd9f51-5ba6-4365-b582-853c059ff100" providerId="ADAL" clId="{D7ECF901-E3F0-4D8A-A5A7-F8BE37A27083}" dt="2023-11-28T22:17:26.264" v="2731"/>
          <ac:spMkLst>
            <pc:docMk/>
            <pc:sldMk cId="1464327994" sldId="2134804652"/>
            <ac:spMk id="7" creationId="{59D91A86-DA2A-298B-60A8-01101A6A1ACD}"/>
          </ac:spMkLst>
        </pc:spChg>
        <pc:spChg chg="mod">
          <ac:chgData name="Gianluigi Liguori" userId="57fd9f51-5ba6-4365-b582-853c059ff100" providerId="ADAL" clId="{D7ECF901-E3F0-4D8A-A5A7-F8BE37A27083}" dt="2023-11-28T22:29:29.334" v="3147" actId="20577"/>
          <ac:spMkLst>
            <pc:docMk/>
            <pc:sldMk cId="1464327994" sldId="2134804652"/>
            <ac:spMk id="10" creationId="{A9D4E103-D0A6-6149-2D62-070286FCB9AA}"/>
          </ac:spMkLst>
        </pc:spChg>
        <pc:graphicFrameChg chg="del mod">
          <ac:chgData name="Gianluigi Liguori" userId="57fd9f51-5ba6-4365-b582-853c059ff100" providerId="ADAL" clId="{D7ECF901-E3F0-4D8A-A5A7-F8BE37A27083}" dt="2023-11-27T21:54:33.935" v="599" actId="478"/>
          <ac:graphicFrameMkLst>
            <pc:docMk/>
            <pc:sldMk cId="1464327994" sldId="2134804652"/>
            <ac:graphicFrameMk id="3" creationId="{E56C593A-6310-DBB5-9B54-E51594859A1E}"/>
          </ac:graphicFrameMkLst>
        </pc:graphicFrameChg>
        <pc:picChg chg="add del mod">
          <ac:chgData name="Gianluigi Liguori" userId="57fd9f51-5ba6-4365-b582-853c059ff100" providerId="ADAL" clId="{D7ECF901-E3F0-4D8A-A5A7-F8BE37A27083}" dt="2023-11-27T22:00:01.910" v="619" actId="478"/>
          <ac:picMkLst>
            <pc:docMk/>
            <pc:sldMk cId="1464327994" sldId="2134804652"/>
            <ac:picMk id="4" creationId="{C0B8182B-65A2-C191-5337-1E58F4B71F33}"/>
          </ac:picMkLst>
        </pc:picChg>
        <pc:picChg chg="add mod">
          <ac:chgData name="Gianluigi Liguori" userId="57fd9f51-5ba6-4365-b582-853c059ff100" providerId="ADAL" clId="{D7ECF901-E3F0-4D8A-A5A7-F8BE37A27083}" dt="2023-11-27T22:00:06.208" v="621" actId="1076"/>
          <ac:picMkLst>
            <pc:docMk/>
            <pc:sldMk cId="1464327994" sldId="2134804652"/>
            <ac:picMk id="6" creationId="{CF720F51-2369-F811-9460-E42133A401E0}"/>
          </ac:picMkLst>
        </pc:picChg>
      </pc:sldChg>
      <pc:sldChg chg="addSp delSp modSp add mod">
        <pc:chgData name="Gianluigi Liguori" userId="57fd9f51-5ba6-4365-b582-853c059ff100" providerId="ADAL" clId="{D7ECF901-E3F0-4D8A-A5A7-F8BE37A27083}" dt="2023-12-01T11:39:08.885" v="9907" actId="20577"/>
        <pc:sldMkLst>
          <pc:docMk/>
          <pc:sldMk cId="3473521066" sldId="2134804653"/>
        </pc:sldMkLst>
        <pc:spChg chg="mod">
          <ac:chgData name="Gianluigi Liguori" userId="57fd9f51-5ba6-4365-b582-853c059ff100" providerId="ADAL" clId="{D7ECF901-E3F0-4D8A-A5A7-F8BE37A27083}" dt="2023-12-01T11:39:08.885" v="9907" actId="20577"/>
          <ac:spMkLst>
            <pc:docMk/>
            <pc:sldMk cId="3473521066" sldId="2134804653"/>
            <ac:spMk id="2" creationId="{00000000-0000-0000-0000-000000000000}"/>
          </ac:spMkLst>
        </pc:spChg>
        <pc:spChg chg="add mod">
          <ac:chgData name="Gianluigi Liguori" userId="57fd9f51-5ba6-4365-b582-853c059ff100" providerId="ADAL" clId="{D7ECF901-E3F0-4D8A-A5A7-F8BE37A27083}" dt="2023-11-28T22:44:44.397" v="3550" actId="20577"/>
          <ac:spMkLst>
            <pc:docMk/>
            <pc:sldMk cId="3473521066" sldId="2134804653"/>
            <ac:spMk id="3" creationId="{82EC50F9-EB4F-8E52-0F36-5CC4039C44A1}"/>
          </ac:spMkLst>
        </pc:spChg>
        <pc:spChg chg="add mod">
          <ac:chgData name="Gianluigi Liguori" userId="57fd9f51-5ba6-4365-b582-853c059ff100" providerId="ADAL" clId="{D7ECF901-E3F0-4D8A-A5A7-F8BE37A27083}" dt="2023-11-28T22:49:46.851" v="3785" actId="404"/>
          <ac:spMkLst>
            <pc:docMk/>
            <pc:sldMk cId="3473521066" sldId="2134804653"/>
            <ac:spMk id="4" creationId="{10BABBCD-107F-EE5C-A7D9-D99C27ED3031}"/>
          </ac:spMkLst>
        </pc:spChg>
        <pc:spChg chg="mod">
          <ac:chgData name="Gianluigi Liguori" userId="57fd9f51-5ba6-4365-b582-853c059ff100" providerId="ADAL" clId="{D7ECF901-E3F0-4D8A-A5A7-F8BE37A27083}" dt="2023-11-28T22:50:54.577" v="3838" actId="20577"/>
          <ac:spMkLst>
            <pc:docMk/>
            <pc:sldMk cId="3473521066" sldId="2134804653"/>
            <ac:spMk id="10" creationId="{A9D4E103-D0A6-6149-2D62-070286FCB9AA}"/>
          </ac:spMkLst>
        </pc:spChg>
        <pc:graphicFrameChg chg="del">
          <ac:chgData name="Gianluigi Liguori" userId="57fd9f51-5ba6-4365-b582-853c059ff100" providerId="ADAL" clId="{D7ECF901-E3F0-4D8A-A5A7-F8BE37A27083}" dt="2023-11-27T21:55:13.371" v="602" actId="478"/>
          <ac:graphicFrameMkLst>
            <pc:docMk/>
            <pc:sldMk cId="3473521066" sldId="2134804653"/>
            <ac:graphicFrameMk id="3" creationId="{E56C593A-6310-DBB5-9B54-E51594859A1E}"/>
          </ac:graphicFrameMkLst>
        </pc:graphicFrameChg>
        <pc:picChg chg="add del mod">
          <ac:chgData name="Gianluigi Liguori" userId="57fd9f51-5ba6-4365-b582-853c059ff100" providerId="ADAL" clId="{D7ECF901-E3F0-4D8A-A5A7-F8BE37A27083}" dt="2023-11-27T22:00:43.472" v="622" actId="478"/>
          <ac:picMkLst>
            <pc:docMk/>
            <pc:sldMk cId="3473521066" sldId="2134804653"/>
            <ac:picMk id="4" creationId="{28549D14-AC24-4F68-A8CC-8DF56B9E051A}"/>
          </ac:picMkLst>
        </pc:picChg>
        <pc:picChg chg="add mod">
          <ac:chgData name="Gianluigi Liguori" userId="57fd9f51-5ba6-4365-b582-853c059ff100" providerId="ADAL" clId="{D7ECF901-E3F0-4D8A-A5A7-F8BE37A27083}" dt="2023-11-27T22:00:47.410" v="624" actId="1076"/>
          <ac:picMkLst>
            <pc:docMk/>
            <pc:sldMk cId="3473521066" sldId="2134804653"/>
            <ac:picMk id="6" creationId="{99B7AFE2-7000-FE2D-F106-D9D97F53ED83}"/>
          </ac:picMkLst>
        </pc:picChg>
      </pc:sldChg>
      <pc:sldChg chg="addSp delSp modSp add mod">
        <pc:chgData name="Gianluigi Liguori" userId="57fd9f51-5ba6-4365-b582-853c059ff100" providerId="ADAL" clId="{D7ECF901-E3F0-4D8A-A5A7-F8BE37A27083}" dt="2023-12-01T11:39:12.135" v="9910" actId="20577"/>
        <pc:sldMkLst>
          <pc:docMk/>
          <pc:sldMk cId="1241505726" sldId="2134804654"/>
        </pc:sldMkLst>
        <pc:spChg chg="mod">
          <ac:chgData name="Gianluigi Liguori" userId="57fd9f51-5ba6-4365-b582-853c059ff100" providerId="ADAL" clId="{D7ECF901-E3F0-4D8A-A5A7-F8BE37A27083}" dt="2023-12-01T11:39:12.135" v="9910" actId="20577"/>
          <ac:spMkLst>
            <pc:docMk/>
            <pc:sldMk cId="1241505726" sldId="2134804654"/>
            <ac:spMk id="2" creationId="{00000000-0000-0000-0000-000000000000}"/>
          </ac:spMkLst>
        </pc:spChg>
        <pc:spChg chg="add mod">
          <ac:chgData name="Gianluigi Liguori" userId="57fd9f51-5ba6-4365-b582-853c059ff100" providerId="ADAL" clId="{D7ECF901-E3F0-4D8A-A5A7-F8BE37A27083}" dt="2023-11-28T22:57:00.011" v="4015" actId="20577"/>
          <ac:spMkLst>
            <pc:docMk/>
            <pc:sldMk cId="1241505726" sldId="2134804654"/>
            <ac:spMk id="3" creationId="{8BDFD52D-EB1A-A52D-A3C2-671F76F2572B}"/>
          </ac:spMkLst>
        </pc:spChg>
        <pc:spChg chg="add mod">
          <ac:chgData name="Gianluigi Liguori" userId="57fd9f51-5ba6-4365-b582-853c059ff100" providerId="ADAL" clId="{D7ECF901-E3F0-4D8A-A5A7-F8BE37A27083}" dt="2023-11-28T23:00:39.272" v="4134" actId="20577"/>
          <ac:spMkLst>
            <pc:docMk/>
            <pc:sldMk cId="1241505726" sldId="2134804654"/>
            <ac:spMk id="4" creationId="{54EB3AEC-F5B2-B90F-CF95-925421DAB4D1}"/>
          </ac:spMkLst>
        </pc:spChg>
        <pc:spChg chg="mod">
          <ac:chgData name="Gianluigi Liguori" userId="57fd9f51-5ba6-4365-b582-853c059ff100" providerId="ADAL" clId="{D7ECF901-E3F0-4D8A-A5A7-F8BE37A27083}" dt="2023-11-28T22:57:44.900" v="4016"/>
          <ac:spMkLst>
            <pc:docMk/>
            <pc:sldMk cId="1241505726" sldId="2134804654"/>
            <ac:spMk id="10" creationId="{A9D4E103-D0A6-6149-2D62-070286FCB9AA}"/>
          </ac:spMkLst>
        </pc:spChg>
        <pc:graphicFrameChg chg="del">
          <ac:chgData name="Gianluigi Liguori" userId="57fd9f51-5ba6-4365-b582-853c059ff100" providerId="ADAL" clId="{D7ECF901-E3F0-4D8A-A5A7-F8BE37A27083}" dt="2023-11-27T21:55:17.783" v="604" actId="478"/>
          <ac:graphicFrameMkLst>
            <pc:docMk/>
            <pc:sldMk cId="1241505726" sldId="2134804654"/>
            <ac:graphicFrameMk id="3" creationId="{E56C593A-6310-DBB5-9B54-E51594859A1E}"/>
          </ac:graphicFrameMkLst>
        </pc:graphicFrameChg>
        <pc:picChg chg="add del mod">
          <ac:chgData name="Gianluigi Liguori" userId="57fd9f51-5ba6-4365-b582-853c059ff100" providerId="ADAL" clId="{D7ECF901-E3F0-4D8A-A5A7-F8BE37A27083}" dt="2023-11-27T22:01:21.998" v="625" actId="478"/>
          <ac:picMkLst>
            <pc:docMk/>
            <pc:sldMk cId="1241505726" sldId="2134804654"/>
            <ac:picMk id="4" creationId="{E1C146B5-D830-5DB7-0053-9C80260A6A19}"/>
          </ac:picMkLst>
        </pc:picChg>
        <pc:picChg chg="add mod">
          <ac:chgData name="Gianluigi Liguori" userId="57fd9f51-5ba6-4365-b582-853c059ff100" providerId="ADAL" clId="{D7ECF901-E3F0-4D8A-A5A7-F8BE37A27083}" dt="2023-11-27T22:01:26.741" v="627" actId="1076"/>
          <ac:picMkLst>
            <pc:docMk/>
            <pc:sldMk cId="1241505726" sldId="2134804654"/>
            <ac:picMk id="6" creationId="{E66399C8-B4C1-3077-207A-794650ED563B}"/>
          </ac:picMkLst>
        </pc:picChg>
      </pc:sldChg>
      <pc:sldChg chg="addSp delSp modSp add mod">
        <pc:chgData name="Gianluigi Liguori" userId="57fd9f51-5ba6-4365-b582-853c059ff100" providerId="ADAL" clId="{D7ECF901-E3F0-4D8A-A5A7-F8BE37A27083}" dt="2023-12-01T11:39:15.344" v="9911" actId="20577"/>
        <pc:sldMkLst>
          <pc:docMk/>
          <pc:sldMk cId="1801673476" sldId="2134804655"/>
        </pc:sldMkLst>
        <pc:spChg chg="mod">
          <ac:chgData name="Gianluigi Liguori" userId="57fd9f51-5ba6-4365-b582-853c059ff100" providerId="ADAL" clId="{D7ECF901-E3F0-4D8A-A5A7-F8BE37A27083}" dt="2023-12-01T11:39:15.344" v="9911" actId="20577"/>
          <ac:spMkLst>
            <pc:docMk/>
            <pc:sldMk cId="1801673476" sldId="2134804655"/>
            <ac:spMk id="2" creationId="{00000000-0000-0000-0000-000000000000}"/>
          </ac:spMkLst>
        </pc:spChg>
        <pc:spChg chg="add mod">
          <ac:chgData name="Gianluigi Liguori" userId="57fd9f51-5ba6-4365-b582-853c059ff100" providerId="ADAL" clId="{D7ECF901-E3F0-4D8A-A5A7-F8BE37A27083}" dt="2023-11-28T23:04:40.530" v="4156" actId="20577"/>
          <ac:spMkLst>
            <pc:docMk/>
            <pc:sldMk cId="1801673476" sldId="2134804655"/>
            <ac:spMk id="3" creationId="{5D691822-7FDB-4CA6-6272-F256EA83F749}"/>
          </ac:spMkLst>
        </pc:spChg>
        <pc:spChg chg="add mod">
          <ac:chgData name="Gianluigi Liguori" userId="57fd9f51-5ba6-4365-b582-853c059ff100" providerId="ADAL" clId="{D7ECF901-E3F0-4D8A-A5A7-F8BE37A27083}" dt="2023-11-28T23:12:57.230" v="4381" actId="20577"/>
          <ac:spMkLst>
            <pc:docMk/>
            <pc:sldMk cId="1801673476" sldId="2134804655"/>
            <ac:spMk id="4" creationId="{C381F8FE-D941-0ACC-0CD4-7CFC0DA7AA0C}"/>
          </ac:spMkLst>
        </pc:spChg>
        <pc:spChg chg="mod">
          <ac:chgData name="Gianluigi Liguori" userId="57fd9f51-5ba6-4365-b582-853c059ff100" providerId="ADAL" clId="{D7ECF901-E3F0-4D8A-A5A7-F8BE37A27083}" dt="2023-11-28T23:03:16.363" v="4136"/>
          <ac:spMkLst>
            <pc:docMk/>
            <pc:sldMk cId="1801673476" sldId="2134804655"/>
            <ac:spMk id="10" creationId="{A9D4E103-D0A6-6149-2D62-070286FCB9AA}"/>
          </ac:spMkLst>
        </pc:spChg>
        <pc:graphicFrameChg chg="del">
          <ac:chgData name="Gianluigi Liguori" userId="57fd9f51-5ba6-4365-b582-853c059ff100" providerId="ADAL" clId="{D7ECF901-E3F0-4D8A-A5A7-F8BE37A27083}" dt="2023-11-27T21:55:21.094" v="606" actId="478"/>
          <ac:graphicFrameMkLst>
            <pc:docMk/>
            <pc:sldMk cId="1801673476" sldId="2134804655"/>
            <ac:graphicFrameMk id="3" creationId="{E56C593A-6310-DBB5-9B54-E51594859A1E}"/>
          </ac:graphicFrameMkLst>
        </pc:graphicFrameChg>
        <pc:picChg chg="add del mod">
          <ac:chgData name="Gianluigi Liguori" userId="57fd9f51-5ba6-4365-b582-853c059ff100" providerId="ADAL" clId="{D7ECF901-E3F0-4D8A-A5A7-F8BE37A27083}" dt="2023-11-27T22:01:49.187" v="628" actId="478"/>
          <ac:picMkLst>
            <pc:docMk/>
            <pc:sldMk cId="1801673476" sldId="2134804655"/>
            <ac:picMk id="4" creationId="{3259DF37-088C-2B43-26E2-4C71E1201727}"/>
          </ac:picMkLst>
        </pc:picChg>
        <pc:picChg chg="add mod">
          <ac:chgData name="Gianluigi Liguori" userId="57fd9f51-5ba6-4365-b582-853c059ff100" providerId="ADAL" clId="{D7ECF901-E3F0-4D8A-A5A7-F8BE37A27083}" dt="2023-11-27T22:01:55.246" v="630" actId="1076"/>
          <ac:picMkLst>
            <pc:docMk/>
            <pc:sldMk cId="1801673476" sldId="2134804655"/>
            <ac:picMk id="6" creationId="{5A545BA7-905E-7641-61B2-5B0327B6DB9A}"/>
          </ac:picMkLst>
        </pc:picChg>
      </pc:sldChg>
      <pc:sldChg chg="addSp delSp modSp add mod">
        <pc:chgData name="Gianluigi Liguori" userId="57fd9f51-5ba6-4365-b582-853c059ff100" providerId="ADAL" clId="{D7ECF901-E3F0-4D8A-A5A7-F8BE37A27083}" dt="2023-12-01T11:39:18.177" v="9912" actId="20577"/>
        <pc:sldMkLst>
          <pc:docMk/>
          <pc:sldMk cId="2719178769" sldId="2134804656"/>
        </pc:sldMkLst>
        <pc:spChg chg="mod">
          <ac:chgData name="Gianluigi Liguori" userId="57fd9f51-5ba6-4365-b582-853c059ff100" providerId="ADAL" clId="{D7ECF901-E3F0-4D8A-A5A7-F8BE37A27083}" dt="2023-12-01T11:39:18.177" v="9912" actId="20577"/>
          <ac:spMkLst>
            <pc:docMk/>
            <pc:sldMk cId="2719178769" sldId="2134804656"/>
            <ac:spMk id="2" creationId="{00000000-0000-0000-0000-000000000000}"/>
          </ac:spMkLst>
        </pc:spChg>
        <pc:spChg chg="add mod">
          <ac:chgData name="Gianluigi Liguori" userId="57fd9f51-5ba6-4365-b582-853c059ff100" providerId="ADAL" clId="{D7ECF901-E3F0-4D8A-A5A7-F8BE37A27083}" dt="2023-11-29T21:43:06.126" v="4788" actId="20577"/>
          <ac:spMkLst>
            <pc:docMk/>
            <pc:sldMk cId="2719178769" sldId="2134804656"/>
            <ac:spMk id="3" creationId="{2B3D47E1-E7EA-7F03-2D25-4B8B68A02420}"/>
          </ac:spMkLst>
        </pc:spChg>
        <pc:spChg chg="add mod">
          <ac:chgData name="Gianluigi Liguori" userId="57fd9f51-5ba6-4365-b582-853c059ff100" providerId="ADAL" clId="{D7ECF901-E3F0-4D8A-A5A7-F8BE37A27083}" dt="2023-11-29T21:59:43.082" v="5112" actId="20577"/>
          <ac:spMkLst>
            <pc:docMk/>
            <pc:sldMk cId="2719178769" sldId="2134804656"/>
            <ac:spMk id="4" creationId="{DCCA9669-38EB-6B16-6CFC-5522335BB453}"/>
          </ac:spMkLst>
        </pc:spChg>
        <pc:spChg chg="mod">
          <ac:chgData name="Gianluigi Liguori" userId="57fd9f51-5ba6-4365-b582-853c059ff100" providerId="ADAL" clId="{D7ECF901-E3F0-4D8A-A5A7-F8BE37A27083}" dt="2023-11-29T22:15:24.653" v="5361" actId="20577"/>
          <ac:spMkLst>
            <pc:docMk/>
            <pc:sldMk cId="2719178769" sldId="2134804656"/>
            <ac:spMk id="10" creationId="{A9D4E103-D0A6-6149-2D62-070286FCB9AA}"/>
          </ac:spMkLst>
        </pc:spChg>
        <pc:graphicFrameChg chg="del">
          <ac:chgData name="Gianluigi Liguori" userId="57fd9f51-5ba6-4365-b582-853c059ff100" providerId="ADAL" clId="{D7ECF901-E3F0-4D8A-A5A7-F8BE37A27083}" dt="2023-11-27T21:55:25.808" v="608" actId="478"/>
          <ac:graphicFrameMkLst>
            <pc:docMk/>
            <pc:sldMk cId="2719178769" sldId="2134804656"/>
            <ac:graphicFrameMk id="3" creationId="{E56C593A-6310-DBB5-9B54-E51594859A1E}"/>
          </ac:graphicFrameMkLst>
        </pc:graphicFrameChg>
        <pc:picChg chg="add mod">
          <ac:chgData name="Gianluigi Liguori" userId="57fd9f51-5ba6-4365-b582-853c059ff100" providerId="ADAL" clId="{D7ECF901-E3F0-4D8A-A5A7-F8BE37A27083}" dt="2023-11-27T22:02:31.706" v="632" actId="1076"/>
          <ac:picMkLst>
            <pc:docMk/>
            <pc:sldMk cId="2719178769" sldId="2134804656"/>
            <ac:picMk id="5" creationId="{E36AFE98-0D08-12B5-0D2F-B1C95AB9F4AE}"/>
          </ac:picMkLst>
        </pc:picChg>
      </pc:sldChg>
      <pc:sldChg chg="addSp delSp modSp add mod">
        <pc:chgData name="Gianluigi Liguori" userId="57fd9f51-5ba6-4365-b582-853c059ff100" providerId="ADAL" clId="{D7ECF901-E3F0-4D8A-A5A7-F8BE37A27083}" dt="2023-12-01T11:39:23.092" v="9914" actId="20577"/>
        <pc:sldMkLst>
          <pc:docMk/>
          <pc:sldMk cId="905276567" sldId="2134804657"/>
        </pc:sldMkLst>
        <pc:spChg chg="mod">
          <ac:chgData name="Gianluigi Liguori" userId="57fd9f51-5ba6-4365-b582-853c059ff100" providerId="ADAL" clId="{D7ECF901-E3F0-4D8A-A5A7-F8BE37A27083}" dt="2023-12-01T11:39:23.092" v="9914" actId="20577"/>
          <ac:spMkLst>
            <pc:docMk/>
            <pc:sldMk cId="905276567" sldId="2134804657"/>
            <ac:spMk id="2" creationId="{00000000-0000-0000-0000-000000000000}"/>
          </ac:spMkLst>
        </pc:spChg>
        <pc:spChg chg="add mod">
          <ac:chgData name="Gianluigi Liguori" userId="57fd9f51-5ba6-4365-b582-853c059ff100" providerId="ADAL" clId="{D7ECF901-E3F0-4D8A-A5A7-F8BE37A27083}" dt="2023-11-29T22:42:30.431" v="6212" actId="255"/>
          <ac:spMkLst>
            <pc:docMk/>
            <pc:sldMk cId="905276567" sldId="2134804657"/>
            <ac:spMk id="3" creationId="{DEBC29AA-31EB-6889-0C84-FF6216DA6193}"/>
          </ac:spMkLst>
        </pc:spChg>
        <pc:spChg chg="add mod">
          <ac:chgData name="Gianluigi Liguori" userId="57fd9f51-5ba6-4365-b582-853c059ff100" providerId="ADAL" clId="{D7ECF901-E3F0-4D8A-A5A7-F8BE37A27083}" dt="2023-11-29T22:45:01.799" v="6287"/>
          <ac:spMkLst>
            <pc:docMk/>
            <pc:sldMk cId="905276567" sldId="2134804657"/>
            <ac:spMk id="4" creationId="{FB10BF7E-DC8C-4DDE-CC11-DF52160AA3A7}"/>
          </ac:spMkLst>
        </pc:spChg>
        <pc:spChg chg="mod">
          <ac:chgData name="Gianluigi Liguori" userId="57fd9f51-5ba6-4365-b582-853c059ff100" providerId="ADAL" clId="{D7ECF901-E3F0-4D8A-A5A7-F8BE37A27083}" dt="2023-11-29T22:37:30.143" v="6094" actId="20577"/>
          <ac:spMkLst>
            <pc:docMk/>
            <pc:sldMk cId="905276567" sldId="2134804657"/>
            <ac:spMk id="10" creationId="{A9D4E103-D0A6-6149-2D62-070286FCB9AA}"/>
          </ac:spMkLst>
        </pc:spChg>
        <pc:graphicFrameChg chg="del">
          <ac:chgData name="Gianluigi Liguori" userId="57fd9f51-5ba6-4365-b582-853c059ff100" providerId="ADAL" clId="{D7ECF901-E3F0-4D8A-A5A7-F8BE37A27083}" dt="2023-11-27T22:03:56.979" v="646" actId="478"/>
          <ac:graphicFrameMkLst>
            <pc:docMk/>
            <pc:sldMk cId="905276567" sldId="2134804657"/>
            <ac:graphicFrameMk id="3" creationId="{B74361EE-A55B-8DD6-8CDC-B7D6A3A04F63}"/>
          </ac:graphicFrameMkLst>
        </pc:graphicFrameChg>
        <pc:picChg chg="add mod">
          <ac:chgData name="Gianluigi Liguori" userId="57fd9f51-5ba6-4365-b582-853c059ff100" providerId="ADAL" clId="{D7ECF901-E3F0-4D8A-A5A7-F8BE37A27083}" dt="2023-11-27T22:04:01.654" v="648" actId="1076"/>
          <ac:picMkLst>
            <pc:docMk/>
            <pc:sldMk cId="905276567" sldId="2134804657"/>
            <ac:picMk id="5" creationId="{2000FFA5-5687-B083-0236-39977642CAD5}"/>
          </ac:picMkLst>
        </pc:picChg>
      </pc:sldChg>
      <pc:sldChg chg="addSp delSp modSp add mod">
        <pc:chgData name="Gianluigi Liguori" userId="57fd9f51-5ba6-4365-b582-853c059ff100" providerId="ADAL" clId="{D7ECF901-E3F0-4D8A-A5A7-F8BE37A27083}" dt="2023-12-01T11:39:44.035" v="9921" actId="20577"/>
        <pc:sldMkLst>
          <pc:docMk/>
          <pc:sldMk cId="3620960522" sldId="2134804658"/>
        </pc:sldMkLst>
        <pc:spChg chg="mod">
          <ac:chgData name="Gianluigi Liguori" userId="57fd9f51-5ba6-4365-b582-853c059ff100" providerId="ADAL" clId="{D7ECF901-E3F0-4D8A-A5A7-F8BE37A27083}" dt="2023-12-01T11:39:44.035" v="9921" actId="20577"/>
          <ac:spMkLst>
            <pc:docMk/>
            <pc:sldMk cId="3620960522" sldId="2134804658"/>
            <ac:spMk id="2" creationId="{00000000-0000-0000-0000-000000000000}"/>
          </ac:spMkLst>
        </pc:spChg>
        <pc:spChg chg="add mod">
          <ac:chgData name="Gianluigi Liguori" userId="57fd9f51-5ba6-4365-b582-853c059ff100" providerId="ADAL" clId="{D7ECF901-E3F0-4D8A-A5A7-F8BE37A27083}" dt="2023-11-29T23:40:38.557" v="9304" actId="20577"/>
          <ac:spMkLst>
            <pc:docMk/>
            <pc:sldMk cId="3620960522" sldId="2134804658"/>
            <ac:spMk id="3" creationId="{313B1B8B-732C-246E-53D4-FF5604DF1170}"/>
          </ac:spMkLst>
        </pc:spChg>
        <pc:spChg chg="add mod">
          <ac:chgData name="Gianluigi Liguori" userId="57fd9f51-5ba6-4365-b582-853c059ff100" providerId="ADAL" clId="{D7ECF901-E3F0-4D8A-A5A7-F8BE37A27083}" dt="2023-11-29T23:42:36.917" v="9521" actId="20577"/>
          <ac:spMkLst>
            <pc:docMk/>
            <pc:sldMk cId="3620960522" sldId="2134804658"/>
            <ac:spMk id="4" creationId="{86A55FC8-2509-049A-ED46-4036EC628CE5}"/>
          </ac:spMkLst>
        </pc:spChg>
        <pc:spChg chg="mod">
          <ac:chgData name="Gianluigi Liguori" userId="57fd9f51-5ba6-4365-b582-853c059ff100" providerId="ADAL" clId="{D7ECF901-E3F0-4D8A-A5A7-F8BE37A27083}" dt="2023-11-29T23:42:55.378" v="9536" actId="20577"/>
          <ac:spMkLst>
            <pc:docMk/>
            <pc:sldMk cId="3620960522" sldId="2134804658"/>
            <ac:spMk id="10" creationId="{A9D4E103-D0A6-6149-2D62-070286FCB9AA}"/>
          </ac:spMkLst>
        </pc:spChg>
        <pc:graphicFrameChg chg="del">
          <ac:chgData name="Gianluigi Liguori" userId="57fd9f51-5ba6-4365-b582-853c059ff100" providerId="ADAL" clId="{D7ECF901-E3F0-4D8A-A5A7-F8BE37A27083}" dt="2023-11-27T22:14:22.515" v="710" actId="478"/>
          <ac:graphicFrameMkLst>
            <pc:docMk/>
            <pc:sldMk cId="3620960522" sldId="2134804658"/>
            <ac:graphicFrameMk id="3" creationId="{9620024D-939D-3D48-7779-595C649AE1CF}"/>
          </ac:graphicFrameMkLst>
        </pc:graphicFrameChg>
        <pc:picChg chg="add mod">
          <ac:chgData name="Gianluigi Liguori" userId="57fd9f51-5ba6-4365-b582-853c059ff100" providerId="ADAL" clId="{D7ECF901-E3F0-4D8A-A5A7-F8BE37A27083}" dt="2023-11-27T22:14:26.312" v="712" actId="1076"/>
          <ac:picMkLst>
            <pc:docMk/>
            <pc:sldMk cId="3620960522" sldId="2134804658"/>
            <ac:picMk id="5" creationId="{F728AF8B-DC49-15C2-ACC6-B3FFE057BE7C}"/>
          </ac:picMkLst>
        </pc:picChg>
      </pc:sldChg>
      <pc:sldChg chg="addSp delSp modSp add mod">
        <pc:chgData name="Gianluigi Liguori" userId="57fd9f51-5ba6-4365-b582-853c059ff100" providerId="ADAL" clId="{D7ECF901-E3F0-4D8A-A5A7-F8BE37A27083}" dt="2023-12-01T11:39:46.349" v="9922" actId="20577"/>
        <pc:sldMkLst>
          <pc:docMk/>
          <pc:sldMk cId="1778398910" sldId="2134804659"/>
        </pc:sldMkLst>
        <pc:spChg chg="mod">
          <ac:chgData name="Gianluigi Liguori" userId="57fd9f51-5ba6-4365-b582-853c059ff100" providerId="ADAL" clId="{D7ECF901-E3F0-4D8A-A5A7-F8BE37A27083}" dt="2023-12-01T11:39:46.349" v="9922" actId="20577"/>
          <ac:spMkLst>
            <pc:docMk/>
            <pc:sldMk cId="1778398910" sldId="2134804659"/>
            <ac:spMk id="2" creationId="{00000000-0000-0000-0000-000000000000}"/>
          </ac:spMkLst>
        </pc:spChg>
        <pc:spChg chg="add mod">
          <ac:chgData name="Gianluigi Liguori" userId="57fd9f51-5ba6-4365-b582-853c059ff100" providerId="ADAL" clId="{D7ECF901-E3F0-4D8A-A5A7-F8BE37A27083}" dt="2023-11-29T23:46:25.412" v="9648" actId="20577"/>
          <ac:spMkLst>
            <pc:docMk/>
            <pc:sldMk cId="1778398910" sldId="2134804659"/>
            <ac:spMk id="3" creationId="{739E89FD-6C1D-65E3-CD78-71DC3F9BF01D}"/>
          </ac:spMkLst>
        </pc:spChg>
        <pc:spChg chg="add mod">
          <ac:chgData name="Gianluigi Liguori" userId="57fd9f51-5ba6-4365-b582-853c059ff100" providerId="ADAL" clId="{D7ECF901-E3F0-4D8A-A5A7-F8BE37A27083}" dt="2023-11-29T23:44:43.227" v="9636" actId="20577"/>
          <ac:spMkLst>
            <pc:docMk/>
            <pc:sldMk cId="1778398910" sldId="2134804659"/>
            <ac:spMk id="4" creationId="{852D8308-DE02-B287-AF6A-721C377A5729}"/>
          </ac:spMkLst>
        </pc:spChg>
        <pc:spChg chg="mod">
          <ac:chgData name="Gianluigi Liguori" userId="57fd9f51-5ba6-4365-b582-853c059ff100" providerId="ADAL" clId="{D7ECF901-E3F0-4D8A-A5A7-F8BE37A27083}" dt="2023-11-29T23:43:40.793" v="9538"/>
          <ac:spMkLst>
            <pc:docMk/>
            <pc:sldMk cId="1778398910" sldId="2134804659"/>
            <ac:spMk id="10" creationId="{A9D4E103-D0A6-6149-2D62-070286FCB9AA}"/>
          </ac:spMkLst>
        </pc:spChg>
        <pc:graphicFrameChg chg="del">
          <ac:chgData name="Gianluigi Liguori" userId="57fd9f51-5ba6-4365-b582-853c059ff100" providerId="ADAL" clId="{D7ECF901-E3F0-4D8A-A5A7-F8BE37A27083}" dt="2023-11-27T22:15:06.793" v="713" actId="478"/>
          <ac:graphicFrameMkLst>
            <pc:docMk/>
            <pc:sldMk cId="1778398910" sldId="2134804659"/>
            <ac:graphicFrameMk id="3" creationId="{9620024D-939D-3D48-7779-595C649AE1CF}"/>
          </ac:graphicFrameMkLst>
        </pc:graphicFrameChg>
        <pc:picChg chg="add mod">
          <ac:chgData name="Gianluigi Liguori" userId="57fd9f51-5ba6-4365-b582-853c059ff100" providerId="ADAL" clId="{D7ECF901-E3F0-4D8A-A5A7-F8BE37A27083}" dt="2023-11-27T22:15:10.375" v="715" actId="1076"/>
          <ac:picMkLst>
            <pc:docMk/>
            <pc:sldMk cId="1778398910" sldId="2134804659"/>
            <ac:picMk id="5" creationId="{A536968D-2167-4B24-4A9B-6FB85EEA3A69}"/>
          </ac:picMkLst>
        </pc:picChg>
      </pc:sldChg>
      <pc:sldChg chg="modSp add mod">
        <pc:chgData name="Gianluigi Liguori" userId="57fd9f51-5ba6-4365-b582-853c059ff100" providerId="ADAL" clId="{D7ECF901-E3F0-4D8A-A5A7-F8BE37A27083}" dt="2023-12-01T11:42:38.810" v="10097" actId="20577"/>
        <pc:sldMkLst>
          <pc:docMk/>
          <pc:sldMk cId="2570099243" sldId="2134804660"/>
        </pc:sldMkLst>
        <pc:spChg chg="mod">
          <ac:chgData name="Gianluigi Liguori" userId="57fd9f51-5ba6-4365-b582-853c059ff100" providerId="ADAL" clId="{D7ECF901-E3F0-4D8A-A5A7-F8BE37A27083}" dt="2023-12-01T11:38:36.135" v="9888" actId="20577"/>
          <ac:spMkLst>
            <pc:docMk/>
            <pc:sldMk cId="2570099243" sldId="2134804660"/>
            <ac:spMk id="2" creationId="{00000000-0000-0000-0000-000000000000}"/>
          </ac:spMkLst>
        </pc:spChg>
        <pc:spChg chg="mod">
          <ac:chgData name="Gianluigi Liguori" userId="57fd9f51-5ba6-4365-b582-853c059ff100" providerId="ADAL" clId="{D7ECF901-E3F0-4D8A-A5A7-F8BE37A27083}" dt="2023-12-01T11:42:13.576" v="10066" actId="20577"/>
          <ac:spMkLst>
            <pc:docMk/>
            <pc:sldMk cId="2570099243" sldId="2134804660"/>
            <ac:spMk id="3" creationId="{2635CD3F-2F06-4256-674B-F1CA178AAC8A}"/>
          </ac:spMkLst>
        </pc:spChg>
        <pc:spChg chg="mod">
          <ac:chgData name="Gianluigi Liguori" userId="57fd9f51-5ba6-4365-b582-853c059ff100" providerId="ADAL" clId="{D7ECF901-E3F0-4D8A-A5A7-F8BE37A27083}" dt="2023-12-01T11:42:38.810" v="10097" actId="20577"/>
          <ac:spMkLst>
            <pc:docMk/>
            <pc:sldMk cId="2570099243" sldId="2134804660"/>
            <ac:spMk id="4" creationId="{49F92E8C-4271-C7CD-0EC7-A2B55C857E4E}"/>
          </ac:spMkLst>
        </pc:spChg>
        <pc:spChg chg="mod">
          <ac:chgData name="Gianluigi Liguori" userId="57fd9f51-5ba6-4365-b582-853c059ff100" providerId="ADAL" clId="{D7ECF901-E3F0-4D8A-A5A7-F8BE37A27083}" dt="2023-12-01T11:38:33.506" v="9887" actId="20577"/>
          <ac:spMkLst>
            <pc:docMk/>
            <pc:sldMk cId="2570099243" sldId="2134804660"/>
            <ac:spMk id="10" creationId="{A9D4E103-D0A6-6149-2D62-070286FCB9AA}"/>
          </ac:spMkLst>
        </pc:spChg>
      </pc:sldChg>
      <pc:sldChg chg="new del">
        <pc:chgData name="Gianluigi Liguori" userId="57fd9f51-5ba6-4365-b582-853c059ff100" providerId="ADAL" clId="{D7ECF901-E3F0-4D8A-A5A7-F8BE37A27083}" dt="2023-11-27T21:22:08.748" v="432" actId="680"/>
        <pc:sldMkLst>
          <pc:docMk/>
          <pc:sldMk cId="3841974299" sldId="2134804660"/>
        </pc:sldMkLst>
      </pc:sldChg>
      <pc:sldChg chg="new del">
        <pc:chgData name="Gianluigi Liguori" userId="57fd9f51-5ba6-4365-b582-853c059ff100" providerId="ADAL" clId="{D7ECF901-E3F0-4D8A-A5A7-F8BE37A27083}" dt="2023-11-27T21:22:29.969" v="436" actId="680"/>
        <pc:sldMkLst>
          <pc:docMk/>
          <pc:sldMk cId="3857978431" sldId="2134804660"/>
        </pc:sldMkLst>
      </pc:sldChg>
    </pc:docChg>
  </pc:docChgLst>
  <pc:docChgLst>
    <pc:chgData name="Paolo Montagna" userId="2bcfe635-3123-4e55-a81a-ac1e77ea1fea" providerId="ADAL" clId="{3D344C4F-20DE-4151-8635-880A7459C701}"/>
    <pc:docChg chg="undo custSel addSld delSld modSld sldOrd modSection">
      <pc:chgData name="Paolo Montagna" userId="2bcfe635-3123-4e55-a81a-ac1e77ea1fea" providerId="ADAL" clId="{3D344C4F-20DE-4151-8635-880A7459C701}" dt="2023-10-20T09:32:17.624" v="1818"/>
      <pc:docMkLst>
        <pc:docMk/>
      </pc:docMkLst>
      <pc:sldChg chg="modSp del mod">
        <pc:chgData name="Paolo Montagna" userId="2bcfe635-3123-4e55-a81a-ac1e77ea1fea" providerId="ADAL" clId="{3D344C4F-20DE-4151-8635-880A7459C701}" dt="2023-10-20T09:08:30.049" v="797" actId="47"/>
        <pc:sldMkLst>
          <pc:docMk/>
          <pc:sldMk cId="1610726780" sldId="3654"/>
        </pc:sldMkLst>
        <pc:spChg chg="mod">
          <ac:chgData name="Paolo Montagna" userId="2bcfe635-3123-4e55-a81a-ac1e77ea1fea" providerId="ADAL" clId="{3D344C4F-20DE-4151-8635-880A7459C701}" dt="2023-10-20T09:01:55.340" v="476" actId="20577"/>
          <ac:spMkLst>
            <pc:docMk/>
            <pc:sldMk cId="1610726780" sldId="3654"/>
            <ac:spMk id="2" creationId="{EC8C9714-9068-4B85-838A-7E0C062D90C9}"/>
          </ac:spMkLst>
        </pc:spChg>
      </pc:sldChg>
      <pc:sldChg chg="modSp mod">
        <pc:chgData name="Paolo Montagna" userId="2bcfe635-3123-4e55-a81a-ac1e77ea1fea" providerId="ADAL" clId="{3D344C4F-20DE-4151-8635-880A7459C701}" dt="2023-10-19T08:32:10.677" v="67" actId="20577"/>
        <pc:sldMkLst>
          <pc:docMk/>
          <pc:sldMk cId="3022581484" sldId="3666"/>
        </pc:sldMkLst>
        <pc:spChg chg="mod">
          <ac:chgData name="Paolo Montagna" userId="2bcfe635-3123-4e55-a81a-ac1e77ea1fea" providerId="ADAL" clId="{3D344C4F-20DE-4151-8635-880A7459C701}" dt="2023-10-19T08:31:58.553" v="9" actId="20577"/>
          <ac:spMkLst>
            <pc:docMk/>
            <pc:sldMk cId="3022581484" sldId="3666"/>
            <ac:spMk id="11" creationId="{4998EC60-7176-4F23-9ACA-8B6954D4F828}"/>
          </ac:spMkLst>
        </pc:spChg>
        <pc:spChg chg="mod">
          <ac:chgData name="Paolo Montagna" userId="2bcfe635-3123-4e55-a81a-ac1e77ea1fea" providerId="ADAL" clId="{3D344C4F-20DE-4151-8635-880A7459C701}" dt="2023-10-19T08:32:10.677" v="67" actId="20577"/>
          <ac:spMkLst>
            <pc:docMk/>
            <pc:sldMk cId="3022581484" sldId="3666"/>
            <ac:spMk id="14" creationId="{DD0BEAB0-D004-444A-AF6E-0C735E676859}"/>
          </ac:spMkLst>
        </pc:spChg>
        <pc:spChg chg="mod">
          <ac:chgData name="Paolo Montagna" userId="2bcfe635-3123-4e55-a81a-ac1e77ea1fea" providerId="ADAL" clId="{3D344C4F-20DE-4151-8635-880A7459C701}" dt="2023-10-19T08:32:05.947" v="51" actId="20577"/>
          <ac:spMkLst>
            <pc:docMk/>
            <pc:sldMk cId="3022581484" sldId="3666"/>
            <ac:spMk id="16" creationId="{6F76C6F6-853D-4588-88AB-182B1C4458BA}"/>
          </ac:spMkLst>
        </pc:spChg>
      </pc:sldChg>
      <pc:sldChg chg="modSp mod">
        <pc:chgData name="Paolo Montagna" userId="2bcfe635-3123-4e55-a81a-ac1e77ea1fea" providerId="ADAL" clId="{3D344C4F-20DE-4151-8635-880A7459C701}" dt="2023-10-20T09:25:51.413" v="1536" actId="114"/>
        <pc:sldMkLst>
          <pc:docMk/>
          <pc:sldMk cId="3314505833" sldId="3670"/>
        </pc:sldMkLst>
        <pc:spChg chg="mod">
          <ac:chgData name="Paolo Montagna" userId="2bcfe635-3123-4e55-a81a-ac1e77ea1fea" providerId="ADAL" clId="{3D344C4F-20DE-4151-8635-880A7459C701}" dt="2023-10-20T09:25:51.413" v="1536" actId="114"/>
          <ac:spMkLst>
            <pc:docMk/>
            <pc:sldMk cId="3314505833" sldId="3670"/>
            <ac:spMk id="2" creationId="{0D56EC12-3EA2-491D-9684-C340268D1F2D}"/>
          </ac:spMkLst>
        </pc:spChg>
      </pc:sldChg>
      <pc:sldChg chg="delSp modSp mod">
        <pc:chgData name="Paolo Montagna" userId="2bcfe635-3123-4e55-a81a-ac1e77ea1fea" providerId="ADAL" clId="{3D344C4F-20DE-4151-8635-880A7459C701}" dt="2023-10-20T09:07:46.711" v="780" actId="15"/>
        <pc:sldMkLst>
          <pc:docMk/>
          <pc:sldMk cId="3517605185" sldId="3680"/>
        </pc:sldMkLst>
        <pc:spChg chg="del">
          <ac:chgData name="Paolo Montagna" userId="2bcfe635-3123-4e55-a81a-ac1e77ea1fea" providerId="ADAL" clId="{3D344C4F-20DE-4151-8635-880A7459C701}" dt="2023-10-20T09:06:00.861" v="679" actId="478"/>
          <ac:spMkLst>
            <pc:docMk/>
            <pc:sldMk cId="3517605185" sldId="3680"/>
            <ac:spMk id="4" creationId="{94345BE4-7CBD-4B12-B996-36BAF8B2DD26}"/>
          </ac:spMkLst>
        </pc:spChg>
        <pc:spChg chg="mod">
          <ac:chgData name="Paolo Montagna" userId="2bcfe635-3123-4e55-a81a-ac1e77ea1fea" providerId="ADAL" clId="{3D344C4F-20DE-4151-8635-880A7459C701}" dt="2023-10-20T09:07:46.711" v="780" actId="15"/>
          <ac:spMkLst>
            <pc:docMk/>
            <pc:sldMk cId="3517605185" sldId="3680"/>
            <ac:spMk id="8" creationId="{BB0068A8-75C6-4868-87D8-6CC8FD7672C2}"/>
          </ac:spMkLst>
        </pc:spChg>
      </pc:sldChg>
      <pc:sldChg chg="delSp modSp mod">
        <pc:chgData name="Paolo Montagna" userId="2bcfe635-3123-4e55-a81a-ac1e77ea1fea" providerId="ADAL" clId="{3D344C4F-20DE-4151-8635-880A7459C701}" dt="2023-10-20T09:07:59.257" v="796" actId="20577"/>
        <pc:sldMkLst>
          <pc:docMk/>
          <pc:sldMk cId="2058726083" sldId="3681"/>
        </pc:sldMkLst>
        <pc:spChg chg="del mod">
          <ac:chgData name="Paolo Montagna" userId="2bcfe635-3123-4e55-a81a-ac1e77ea1fea" providerId="ADAL" clId="{3D344C4F-20DE-4151-8635-880A7459C701}" dt="2023-10-20T09:04:36.573" v="549" actId="478"/>
          <ac:spMkLst>
            <pc:docMk/>
            <pc:sldMk cId="2058726083" sldId="3681"/>
            <ac:spMk id="2" creationId="{33220115-F679-4036-B811-DA6B02F20053}"/>
          </ac:spMkLst>
        </pc:spChg>
        <pc:spChg chg="mod">
          <ac:chgData name="Paolo Montagna" userId="2bcfe635-3123-4e55-a81a-ac1e77ea1fea" providerId="ADAL" clId="{3D344C4F-20DE-4151-8635-880A7459C701}" dt="2023-10-20T09:07:59.257" v="796" actId="20577"/>
          <ac:spMkLst>
            <pc:docMk/>
            <pc:sldMk cId="2058726083" sldId="3681"/>
            <ac:spMk id="4" creationId="{9AA347F1-B878-4968-B4CB-E445DD9C30A2}"/>
          </ac:spMkLst>
        </pc:spChg>
      </pc:sldChg>
      <pc:sldChg chg="addSp delSp modSp mod">
        <pc:chgData name="Paolo Montagna" userId="2bcfe635-3123-4e55-a81a-ac1e77ea1fea" providerId="ADAL" clId="{3D344C4F-20DE-4151-8635-880A7459C701}" dt="2023-10-20T09:05:08.310" v="610" actId="1076"/>
        <pc:sldMkLst>
          <pc:docMk/>
          <pc:sldMk cId="2490381691" sldId="3682"/>
        </pc:sldMkLst>
        <pc:spChg chg="mod">
          <ac:chgData name="Paolo Montagna" userId="2bcfe635-3123-4e55-a81a-ac1e77ea1fea" providerId="ADAL" clId="{3D344C4F-20DE-4151-8635-880A7459C701}" dt="2023-10-20T09:04:07.198" v="547" actId="5793"/>
          <ac:spMkLst>
            <pc:docMk/>
            <pc:sldMk cId="2490381691" sldId="3682"/>
            <ac:spMk id="3" creationId="{9D5B21B8-2AF1-47F8-B002-B22A9A91B1AD}"/>
          </ac:spMkLst>
        </pc:spChg>
        <pc:spChg chg="del mod">
          <ac:chgData name="Paolo Montagna" userId="2bcfe635-3123-4e55-a81a-ac1e77ea1fea" providerId="ADAL" clId="{3D344C4F-20DE-4151-8635-880A7459C701}" dt="2023-10-20T09:02:09.209" v="478" actId="478"/>
          <ac:spMkLst>
            <pc:docMk/>
            <pc:sldMk cId="2490381691" sldId="3682"/>
            <ac:spMk id="8" creationId="{E9C9008F-A88C-4626-814E-4C33A2852D08}"/>
          </ac:spMkLst>
        </pc:spChg>
        <pc:picChg chg="del">
          <ac:chgData name="Paolo Montagna" userId="2bcfe635-3123-4e55-a81a-ac1e77ea1fea" providerId="ADAL" clId="{3D344C4F-20DE-4151-8635-880A7459C701}" dt="2023-10-20T09:02:10.434" v="479" actId="478"/>
          <ac:picMkLst>
            <pc:docMk/>
            <pc:sldMk cId="2490381691" sldId="3682"/>
            <ac:picMk id="5" creationId="{BDBB9E6D-F654-4968-B6CF-3069A1A1C294}"/>
          </ac:picMkLst>
        </pc:picChg>
        <pc:picChg chg="add mod">
          <ac:chgData name="Paolo Montagna" userId="2bcfe635-3123-4e55-a81a-ac1e77ea1fea" providerId="ADAL" clId="{3D344C4F-20DE-4151-8635-880A7459C701}" dt="2023-10-20T09:05:08.310" v="610" actId="1076"/>
          <ac:picMkLst>
            <pc:docMk/>
            <pc:sldMk cId="2490381691" sldId="3682"/>
            <ac:picMk id="6" creationId="{EF1AF102-B9C5-6FA3-7B92-0B92472AC6C5}"/>
          </ac:picMkLst>
        </pc:picChg>
      </pc:sldChg>
      <pc:sldChg chg="del">
        <pc:chgData name="Paolo Montagna" userId="2bcfe635-3123-4e55-a81a-ac1e77ea1fea" providerId="ADAL" clId="{3D344C4F-20DE-4151-8635-880A7459C701}" dt="2023-10-20T09:09:29.401" v="798" actId="47"/>
        <pc:sldMkLst>
          <pc:docMk/>
          <pc:sldMk cId="418183033" sldId="3683"/>
        </pc:sldMkLst>
      </pc:sldChg>
      <pc:sldChg chg="addSp delSp modSp add mod ord">
        <pc:chgData name="Paolo Montagna" userId="2bcfe635-3123-4e55-a81a-ac1e77ea1fea" providerId="ADAL" clId="{3D344C4F-20DE-4151-8635-880A7459C701}" dt="2023-10-20T09:17:43.983" v="1202"/>
        <pc:sldMkLst>
          <pc:docMk/>
          <pc:sldMk cId="1288816496" sldId="3685"/>
        </pc:sldMkLst>
        <pc:spChg chg="mod">
          <ac:chgData name="Paolo Montagna" userId="2bcfe635-3123-4e55-a81a-ac1e77ea1fea" providerId="ADAL" clId="{3D344C4F-20DE-4151-8635-880A7459C701}" dt="2023-10-20T09:17:05.405" v="1160" actId="20577"/>
          <ac:spMkLst>
            <pc:docMk/>
            <pc:sldMk cId="1288816496" sldId="3685"/>
            <ac:spMk id="2" creationId="{00000000-0000-0000-0000-000000000000}"/>
          </ac:spMkLst>
        </pc:spChg>
        <pc:spChg chg="del mod">
          <ac:chgData name="Paolo Montagna" userId="2bcfe635-3123-4e55-a81a-ac1e77ea1fea" providerId="ADAL" clId="{3D344C4F-20DE-4151-8635-880A7459C701}" dt="2023-10-20T09:12:18.846" v="1014" actId="22"/>
          <ac:spMkLst>
            <pc:docMk/>
            <pc:sldMk cId="1288816496" sldId="3685"/>
            <ac:spMk id="3" creationId="{9D5B21B8-2AF1-47F8-B002-B22A9A91B1AD}"/>
          </ac:spMkLst>
        </pc:spChg>
        <pc:spChg chg="add del mod">
          <ac:chgData name="Paolo Montagna" userId="2bcfe635-3123-4e55-a81a-ac1e77ea1fea" providerId="ADAL" clId="{3D344C4F-20DE-4151-8635-880A7459C701}" dt="2023-10-20T09:16:12.900" v="1140"/>
          <ac:spMkLst>
            <pc:docMk/>
            <pc:sldMk cId="1288816496" sldId="3685"/>
            <ac:spMk id="9" creationId="{58ABD6BC-EF39-CDB0-DA3E-683D72E332F4}"/>
          </ac:spMkLst>
        </pc:spChg>
        <pc:spChg chg="add mod">
          <ac:chgData name="Paolo Montagna" userId="2bcfe635-3123-4e55-a81a-ac1e77ea1fea" providerId="ADAL" clId="{3D344C4F-20DE-4151-8635-880A7459C701}" dt="2023-10-20T09:17:37.952" v="1200" actId="20577"/>
          <ac:spMkLst>
            <pc:docMk/>
            <pc:sldMk cId="1288816496" sldId="3685"/>
            <ac:spMk id="10" creationId="{A9D4E103-D0A6-6149-2D62-070286FCB9AA}"/>
          </ac:spMkLst>
        </pc:spChg>
        <pc:spChg chg="add del mod">
          <ac:chgData name="Paolo Montagna" userId="2bcfe635-3123-4e55-a81a-ac1e77ea1fea" providerId="ADAL" clId="{3D344C4F-20DE-4151-8635-880A7459C701}" dt="2023-10-20T09:16:49.919" v="1144" actId="478"/>
          <ac:spMkLst>
            <pc:docMk/>
            <pc:sldMk cId="1288816496" sldId="3685"/>
            <ac:spMk id="14" creationId="{B8332E24-DCDF-72C3-8B40-CD907FD601EA}"/>
          </ac:spMkLst>
        </pc:spChg>
        <pc:picChg chg="add del mod">
          <ac:chgData name="Paolo Montagna" userId="2bcfe635-3123-4e55-a81a-ac1e77ea1fea" providerId="ADAL" clId="{3D344C4F-20DE-4151-8635-880A7459C701}" dt="2023-10-20T09:12:06.286" v="1012" actId="478"/>
          <ac:picMkLst>
            <pc:docMk/>
            <pc:sldMk cId="1288816496" sldId="3685"/>
            <ac:picMk id="5" creationId="{91DD2F6D-003B-A42C-F6C5-EE4CD8FFCF62}"/>
          </ac:picMkLst>
        </pc:picChg>
        <pc:picChg chg="del">
          <ac:chgData name="Paolo Montagna" userId="2bcfe635-3123-4e55-a81a-ac1e77ea1fea" providerId="ADAL" clId="{3D344C4F-20DE-4151-8635-880A7459C701}" dt="2023-10-20T09:12:00.900" v="1007" actId="478"/>
          <ac:picMkLst>
            <pc:docMk/>
            <pc:sldMk cId="1288816496" sldId="3685"/>
            <ac:picMk id="6" creationId="{EF1AF102-B9C5-6FA3-7B92-0B92472AC6C5}"/>
          </ac:picMkLst>
        </pc:picChg>
        <pc:picChg chg="add del mod ord">
          <ac:chgData name="Paolo Montagna" userId="2bcfe635-3123-4e55-a81a-ac1e77ea1fea" providerId="ADAL" clId="{3D344C4F-20DE-4151-8635-880A7459C701}" dt="2023-10-20T09:16:43.277" v="1143" actId="478"/>
          <ac:picMkLst>
            <pc:docMk/>
            <pc:sldMk cId="1288816496" sldId="3685"/>
            <ac:picMk id="8" creationId="{38696D2B-DD77-5E7F-4852-16302517A6EE}"/>
          </ac:picMkLst>
        </pc:picChg>
        <pc:picChg chg="add mod">
          <ac:chgData name="Paolo Montagna" userId="2bcfe635-3123-4e55-a81a-ac1e77ea1fea" providerId="ADAL" clId="{3D344C4F-20DE-4151-8635-880A7459C701}" dt="2023-10-20T09:16:56.731" v="1146" actId="14100"/>
          <ac:picMkLst>
            <pc:docMk/>
            <pc:sldMk cId="1288816496" sldId="3685"/>
            <ac:picMk id="12" creationId="{1117ECBC-1204-8549-7685-301EECAECBA8}"/>
          </ac:picMkLst>
        </pc:picChg>
      </pc:sldChg>
      <pc:sldChg chg="add">
        <pc:chgData name="Paolo Montagna" userId="2bcfe635-3123-4e55-a81a-ac1e77ea1fea" providerId="ADAL" clId="{3D344C4F-20DE-4151-8635-880A7459C701}" dt="2023-10-20T09:16:17.815" v="1141"/>
        <pc:sldMkLst>
          <pc:docMk/>
          <pc:sldMk cId="987033822" sldId="3686"/>
        </pc:sldMkLst>
      </pc:sldChg>
      <pc:sldChg chg="addSp delSp modSp add mod">
        <pc:chgData name="Paolo Montagna" userId="2bcfe635-3123-4e55-a81a-ac1e77ea1fea" providerId="ADAL" clId="{3D344C4F-20DE-4151-8635-880A7459C701}" dt="2023-10-20T09:18:52.428" v="1258"/>
        <pc:sldMkLst>
          <pc:docMk/>
          <pc:sldMk cId="1304064836" sldId="3687"/>
        </pc:sldMkLst>
        <pc:spChg chg="mod">
          <ac:chgData name="Paolo Montagna" userId="2bcfe635-3123-4e55-a81a-ac1e77ea1fea" providerId="ADAL" clId="{3D344C4F-20DE-4151-8635-880A7459C701}" dt="2023-10-20T09:18:20.958" v="1214" actId="20577"/>
          <ac:spMkLst>
            <pc:docMk/>
            <pc:sldMk cId="1304064836" sldId="3687"/>
            <ac:spMk id="2" creationId="{00000000-0000-0000-0000-000000000000}"/>
          </ac:spMkLst>
        </pc:spChg>
        <pc:spChg chg="mod">
          <ac:chgData name="Paolo Montagna" userId="2bcfe635-3123-4e55-a81a-ac1e77ea1fea" providerId="ADAL" clId="{3D344C4F-20DE-4151-8635-880A7459C701}" dt="2023-10-20T09:18:52.428" v="1258"/>
          <ac:spMkLst>
            <pc:docMk/>
            <pc:sldMk cId="1304064836" sldId="3687"/>
            <ac:spMk id="10" creationId="{A9D4E103-D0A6-6149-2D62-070286FCB9AA}"/>
          </ac:spMkLst>
        </pc:spChg>
        <pc:picChg chg="add mod">
          <ac:chgData name="Paolo Montagna" userId="2bcfe635-3123-4e55-a81a-ac1e77ea1fea" providerId="ADAL" clId="{3D344C4F-20DE-4151-8635-880A7459C701}" dt="2023-10-20T09:18:18.743" v="1207" actId="14100"/>
          <ac:picMkLst>
            <pc:docMk/>
            <pc:sldMk cId="1304064836" sldId="3687"/>
            <ac:picMk id="4" creationId="{4E257C5D-C49D-1E80-2A0C-76BD5AFB789C}"/>
          </ac:picMkLst>
        </pc:picChg>
        <pc:picChg chg="del">
          <ac:chgData name="Paolo Montagna" userId="2bcfe635-3123-4e55-a81a-ac1e77ea1fea" providerId="ADAL" clId="{3D344C4F-20DE-4151-8635-880A7459C701}" dt="2023-10-20T09:18:11.109" v="1205" actId="478"/>
          <ac:picMkLst>
            <pc:docMk/>
            <pc:sldMk cId="1304064836" sldId="3687"/>
            <ac:picMk id="12" creationId="{1117ECBC-1204-8549-7685-301EECAECBA8}"/>
          </ac:picMkLst>
        </pc:picChg>
      </pc:sldChg>
      <pc:sldChg chg="addSp delSp modSp add mod">
        <pc:chgData name="Paolo Montagna" userId="2bcfe635-3123-4e55-a81a-ac1e77ea1fea" providerId="ADAL" clId="{3D344C4F-20DE-4151-8635-880A7459C701}" dt="2023-10-20T09:20:13.244" v="1362" actId="20577"/>
        <pc:sldMkLst>
          <pc:docMk/>
          <pc:sldMk cId="2320019733" sldId="3688"/>
        </pc:sldMkLst>
        <pc:spChg chg="mod">
          <ac:chgData name="Paolo Montagna" userId="2bcfe635-3123-4e55-a81a-ac1e77ea1fea" providerId="ADAL" clId="{3D344C4F-20DE-4151-8635-880A7459C701}" dt="2023-10-20T09:19:30.370" v="1275" actId="20577"/>
          <ac:spMkLst>
            <pc:docMk/>
            <pc:sldMk cId="2320019733" sldId="3688"/>
            <ac:spMk id="2" creationId="{00000000-0000-0000-0000-000000000000}"/>
          </ac:spMkLst>
        </pc:spChg>
        <pc:spChg chg="mod">
          <ac:chgData name="Paolo Montagna" userId="2bcfe635-3123-4e55-a81a-ac1e77ea1fea" providerId="ADAL" clId="{3D344C4F-20DE-4151-8635-880A7459C701}" dt="2023-10-20T09:20:13.244" v="1362" actId="20577"/>
          <ac:spMkLst>
            <pc:docMk/>
            <pc:sldMk cId="2320019733" sldId="3688"/>
            <ac:spMk id="10" creationId="{A9D4E103-D0A6-6149-2D62-070286FCB9AA}"/>
          </ac:spMkLst>
        </pc:spChg>
        <pc:picChg chg="del">
          <ac:chgData name="Paolo Montagna" userId="2bcfe635-3123-4e55-a81a-ac1e77ea1fea" providerId="ADAL" clId="{3D344C4F-20DE-4151-8635-880A7459C701}" dt="2023-10-20T09:19:17.431" v="1260" actId="478"/>
          <ac:picMkLst>
            <pc:docMk/>
            <pc:sldMk cId="2320019733" sldId="3688"/>
            <ac:picMk id="4" creationId="{4E257C5D-C49D-1E80-2A0C-76BD5AFB789C}"/>
          </ac:picMkLst>
        </pc:picChg>
        <pc:picChg chg="add mod">
          <ac:chgData name="Paolo Montagna" userId="2bcfe635-3123-4e55-a81a-ac1e77ea1fea" providerId="ADAL" clId="{3D344C4F-20DE-4151-8635-880A7459C701}" dt="2023-10-20T09:19:26.838" v="1264" actId="14100"/>
          <ac:picMkLst>
            <pc:docMk/>
            <pc:sldMk cId="2320019733" sldId="3688"/>
            <ac:picMk id="5" creationId="{6BFCC632-14EA-F46F-A01C-716D31485A2C}"/>
          </ac:picMkLst>
        </pc:picChg>
      </pc:sldChg>
      <pc:sldChg chg="addSp delSp modSp add mod">
        <pc:chgData name="Paolo Montagna" userId="2bcfe635-3123-4e55-a81a-ac1e77ea1fea" providerId="ADAL" clId="{3D344C4F-20DE-4151-8635-880A7459C701}" dt="2023-10-20T09:21:44.946" v="1436" actId="20577"/>
        <pc:sldMkLst>
          <pc:docMk/>
          <pc:sldMk cId="2900312467" sldId="3689"/>
        </pc:sldMkLst>
        <pc:spChg chg="mod">
          <ac:chgData name="Paolo Montagna" userId="2bcfe635-3123-4e55-a81a-ac1e77ea1fea" providerId="ADAL" clId="{3D344C4F-20DE-4151-8635-880A7459C701}" dt="2023-10-20T09:20:53.595" v="1397" actId="20577"/>
          <ac:spMkLst>
            <pc:docMk/>
            <pc:sldMk cId="2900312467" sldId="3689"/>
            <ac:spMk id="2" creationId="{00000000-0000-0000-0000-000000000000}"/>
          </ac:spMkLst>
        </pc:spChg>
        <pc:spChg chg="mod">
          <ac:chgData name="Paolo Montagna" userId="2bcfe635-3123-4e55-a81a-ac1e77ea1fea" providerId="ADAL" clId="{3D344C4F-20DE-4151-8635-880A7459C701}" dt="2023-10-20T09:21:44.946" v="1436" actId="20577"/>
          <ac:spMkLst>
            <pc:docMk/>
            <pc:sldMk cId="2900312467" sldId="3689"/>
            <ac:spMk id="10" creationId="{A9D4E103-D0A6-6149-2D62-070286FCB9AA}"/>
          </ac:spMkLst>
        </pc:spChg>
        <pc:picChg chg="add mod">
          <ac:chgData name="Paolo Montagna" userId="2bcfe635-3123-4e55-a81a-ac1e77ea1fea" providerId="ADAL" clId="{3D344C4F-20DE-4151-8635-880A7459C701}" dt="2023-10-20T09:20:41.546" v="1367" actId="14100"/>
          <ac:picMkLst>
            <pc:docMk/>
            <pc:sldMk cId="2900312467" sldId="3689"/>
            <ac:picMk id="4" creationId="{C05FDA04-0F9C-EE2E-BF36-B0AC781CCBA0}"/>
          </ac:picMkLst>
        </pc:picChg>
        <pc:picChg chg="del">
          <ac:chgData name="Paolo Montagna" userId="2bcfe635-3123-4e55-a81a-ac1e77ea1fea" providerId="ADAL" clId="{3D344C4F-20DE-4151-8635-880A7459C701}" dt="2023-10-20T09:20:35.678" v="1364" actId="478"/>
          <ac:picMkLst>
            <pc:docMk/>
            <pc:sldMk cId="2900312467" sldId="3689"/>
            <ac:picMk id="5" creationId="{6BFCC632-14EA-F46F-A01C-716D31485A2C}"/>
          </ac:picMkLst>
        </pc:picChg>
      </pc:sldChg>
      <pc:sldChg chg="addSp delSp modSp add mod">
        <pc:chgData name="Paolo Montagna" userId="2bcfe635-3123-4e55-a81a-ac1e77ea1fea" providerId="ADAL" clId="{3D344C4F-20DE-4151-8635-880A7459C701}" dt="2023-10-20T09:25:41.863" v="1518"/>
        <pc:sldMkLst>
          <pc:docMk/>
          <pc:sldMk cId="88080438" sldId="3690"/>
        </pc:sldMkLst>
        <pc:spChg chg="mod">
          <ac:chgData name="Paolo Montagna" userId="2bcfe635-3123-4e55-a81a-ac1e77ea1fea" providerId="ADAL" clId="{3D344C4F-20DE-4151-8635-880A7459C701}" dt="2023-10-20T09:24:47.329" v="1453" actId="20577"/>
          <ac:spMkLst>
            <pc:docMk/>
            <pc:sldMk cId="88080438" sldId="3690"/>
            <ac:spMk id="2" creationId="{00000000-0000-0000-0000-000000000000}"/>
          </ac:spMkLst>
        </pc:spChg>
        <pc:spChg chg="mod">
          <ac:chgData name="Paolo Montagna" userId="2bcfe635-3123-4e55-a81a-ac1e77ea1fea" providerId="ADAL" clId="{3D344C4F-20DE-4151-8635-880A7459C701}" dt="2023-10-20T09:25:41.863" v="1518"/>
          <ac:spMkLst>
            <pc:docMk/>
            <pc:sldMk cId="88080438" sldId="3690"/>
            <ac:spMk id="10" creationId="{A9D4E103-D0A6-6149-2D62-070286FCB9AA}"/>
          </ac:spMkLst>
        </pc:spChg>
        <pc:picChg chg="del">
          <ac:chgData name="Paolo Montagna" userId="2bcfe635-3123-4e55-a81a-ac1e77ea1fea" providerId="ADAL" clId="{3D344C4F-20DE-4151-8635-880A7459C701}" dt="2023-10-20T09:24:36.053" v="1438" actId="478"/>
          <ac:picMkLst>
            <pc:docMk/>
            <pc:sldMk cId="88080438" sldId="3690"/>
            <ac:picMk id="4" creationId="{C05FDA04-0F9C-EE2E-BF36-B0AC781CCBA0}"/>
          </ac:picMkLst>
        </pc:picChg>
        <pc:picChg chg="add mod">
          <ac:chgData name="Paolo Montagna" userId="2bcfe635-3123-4e55-a81a-ac1e77ea1fea" providerId="ADAL" clId="{3D344C4F-20DE-4151-8635-880A7459C701}" dt="2023-10-20T09:24:42.397" v="1441" actId="14100"/>
          <ac:picMkLst>
            <pc:docMk/>
            <pc:sldMk cId="88080438" sldId="3690"/>
            <ac:picMk id="5" creationId="{B3A58437-D047-6340-F06A-97216DEDE2AA}"/>
          </ac:picMkLst>
        </pc:picChg>
      </pc:sldChg>
      <pc:sldChg chg="addSp delSp modSp add mod">
        <pc:chgData name="Paolo Montagna" userId="2bcfe635-3123-4e55-a81a-ac1e77ea1fea" providerId="ADAL" clId="{3D344C4F-20DE-4151-8635-880A7459C701}" dt="2023-10-20T09:28:27.376" v="1674" actId="20577"/>
        <pc:sldMkLst>
          <pc:docMk/>
          <pc:sldMk cId="3859749101" sldId="3691"/>
        </pc:sldMkLst>
        <pc:spChg chg="mod">
          <ac:chgData name="Paolo Montagna" userId="2bcfe635-3123-4e55-a81a-ac1e77ea1fea" providerId="ADAL" clId="{3D344C4F-20DE-4151-8635-880A7459C701}" dt="2023-10-20T09:26:44.476" v="1557" actId="20577"/>
          <ac:spMkLst>
            <pc:docMk/>
            <pc:sldMk cId="3859749101" sldId="3691"/>
            <ac:spMk id="2" creationId="{00000000-0000-0000-0000-000000000000}"/>
          </ac:spMkLst>
        </pc:spChg>
        <pc:spChg chg="mod">
          <ac:chgData name="Paolo Montagna" userId="2bcfe635-3123-4e55-a81a-ac1e77ea1fea" providerId="ADAL" clId="{3D344C4F-20DE-4151-8635-880A7459C701}" dt="2023-10-20T09:28:27.376" v="1674" actId="20577"/>
          <ac:spMkLst>
            <pc:docMk/>
            <pc:sldMk cId="3859749101" sldId="3691"/>
            <ac:spMk id="10" creationId="{A9D4E103-D0A6-6149-2D62-070286FCB9AA}"/>
          </ac:spMkLst>
        </pc:spChg>
        <pc:picChg chg="add mod">
          <ac:chgData name="Paolo Montagna" userId="2bcfe635-3123-4e55-a81a-ac1e77ea1fea" providerId="ADAL" clId="{3D344C4F-20DE-4151-8635-880A7459C701}" dt="2023-10-20T09:26:38.876" v="1541" actId="14100"/>
          <ac:picMkLst>
            <pc:docMk/>
            <pc:sldMk cId="3859749101" sldId="3691"/>
            <ac:picMk id="4" creationId="{08292C99-D6E1-1825-0811-836CAF49D5BB}"/>
          </ac:picMkLst>
        </pc:picChg>
        <pc:picChg chg="del">
          <ac:chgData name="Paolo Montagna" userId="2bcfe635-3123-4e55-a81a-ac1e77ea1fea" providerId="ADAL" clId="{3D344C4F-20DE-4151-8635-880A7459C701}" dt="2023-10-20T09:26:32.956" v="1538" actId="478"/>
          <ac:picMkLst>
            <pc:docMk/>
            <pc:sldMk cId="3859749101" sldId="3691"/>
            <ac:picMk id="5" creationId="{B3A58437-D047-6340-F06A-97216DEDE2AA}"/>
          </ac:picMkLst>
        </pc:picChg>
      </pc:sldChg>
      <pc:sldChg chg="addSp delSp modSp add mod">
        <pc:chgData name="Paolo Montagna" userId="2bcfe635-3123-4e55-a81a-ac1e77ea1fea" providerId="ADAL" clId="{3D344C4F-20DE-4151-8635-880A7459C701}" dt="2023-10-20T09:29:54.235" v="1739"/>
        <pc:sldMkLst>
          <pc:docMk/>
          <pc:sldMk cId="1280664912" sldId="3692"/>
        </pc:sldMkLst>
        <pc:spChg chg="mod">
          <ac:chgData name="Paolo Montagna" userId="2bcfe635-3123-4e55-a81a-ac1e77ea1fea" providerId="ADAL" clId="{3D344C4F-20DE-4151-8635-880A7459C701}" dt="2023-10-20T09:29:04.740" v="1693" actId="20577"/>
          <ac:spMkLst>
            <pc:docMk/>
            <pc:sldMk cId="1280664912" sldId="3692"/>
            <ac:spMk id="2" creationId="{00000000-0000-0000-0000-000000000000}"/>
          </ac:spMkLst>
        </pc:spChg>
        <pc:spChg chg="mod">
          <ac:chgData name="Paolo Montagna" userId="2bcfe635-3123-4e55-a81a-ac1e77ea1fea" providerId="ADAL" clId="{3D344C4F-20DE-4151-8635-880A7459C701}" dt="2023-10-20T09:29:54.235" v="1739"/>
          <ac:spMkLst>
            <pc:docMk/>
            <pc:sldMk cId="1280664912" sldId="3692"/>
            <ac:spMk id="10" creationId="{A9D4E103-D0A6-6149-2D62-070286FCB9AA}"/>
          </ac:spMkLst>
        </pc:spChg>
        <pc:picChg chg="del">
          <ac:chgData name="Paolo Montagna" userId="2bcfe635-3123-4e55-a81a-ac1e77ea1fea" providerId="ADAL" clId="{3D344C4F-20DE-4151-8635-880A7459C701}" dt="2023-10-20T09:28:47.736" v="1676" actId="478"/>
          <ac:picMkLst>
            <pc:docMk/>
            <pc:sldMk cId="1280664912" sldId="3692"/>
            <ac:picMk id="4" creationId="{08292C99-D6E1-1825-0811-836CAF49D5BB}"/>
          </ac:picMkLst>
        </pc:picChg>
        <pc:picChg chg="add mod">
          <ac:chgData name="Paolo Montagna" userId="2bcfe635-3123-4e55-a81a-ac1e77ea1fea" providerId="ADAL" clId="{3D344C4F-20DE-4151-8635-880A7459C701}" dt="2023-10-20T09:28:54.837" v="1679" actId="14100"/>
          <ac:picMkLst>
            <pc:docMk/>
            <pc:sldMk cId="1280664912" sldId="3692"/>
            <ac:picMk id="5" creationId="{BC561765-9767-A42D-5123-5DE6F6DF1F48}"/>
          </ac:picMkLst>
        </pc:picChg>
      </pc:sldChg>
      <pc:sldChg chg="addSp delSp modSp add mod">
        <pc:chgData name="Paolo Montagna" userId="2bcfe635-3123-4e55-a81a-ac1e77ea1fea" providerId="ADAL" clId="{3D344C4F-20DE-4151-8635-880A7459C701}" dt="2023-10-20T09:32:17.624" v="1818"/>
        <pc:sldMkLst>
          <pc:docMk/>
          <pc:sldMk cId="2409327819" sldId="3693"/>
        </pc:sldMkLst>
        <pc:spChg chg="mod">
          <ac:chgData name="Paolo Montagna" userId="2bcfe635-3123-4e55-a81a-ac1e77ea1fea" providerId="ADAL" clId="{3D344C4F-20DE-4151-8635-880A7459C701}" dt="2023-10-20T09:31:43.532" v="1754" actId="20577"/>
          <ac:spMkLst>
            <pc:docMk/>
            <pc:sldMk cId="2409327819" sldId="3693"/>
            <ac:spMk id="2" creationId="{00000000-0000-0000-0000-000000000000}"/>
          </ac:spMkLst>
        </pc:spChg>
        <pc:spChg chg="mod">
          <ac:chgData name="Paolo Montagna" userId="2bcfe635-3123-4e55-a81a-ac1e77ea1fea" providerId="ADAL" clId="{3D344C4F-20DE-4151-8635-880A7459C701}" dt="2023-10-20T09:32:17.624" v="1818"/>
          <ac:spMkLst>
            <pc:docMk/>
            <pc:sldMk cId="2409327819" sldId="3693"/>
            <ac:spMk id="10" creationId="{A9D4E103-D0A6-6149-2D62-070286FCB9AA}"/>
          </ac:spMkLst>
        </pc:spChg>
        <pc:picChg chg="add mod">
          <ac:chgData name="Paolo Montagna" userId="2bcfe635-3123-4e55-a81a-ac1e77ea1fea" providerId="ADAL" clId="{3D344C4F-20DE-4151-8635-880A7459C701}" dt="2023-10-20T09:30:21.187" v="1744" actId="14100"/>
          <ac:picMkLst>
            <pc:docMk/>
            <pc:sldMk cId="2409327819" sldId="3693"/>
            <ac:picMk id="4" creationId="{7BAD95BA-FEB2-9895-7BA6-776FBB8187FC}"/>
          </ac:picMkLst>
        </pc:picChg>
        <pc:picChg chg="del">
          <ac:chgData name="Paolo Montagna" userId="2bcfe635-3123-4e55-a81a-ac1e77ea1fea" providerId="ADAL" clId="{3D344C4F-20DE-4151-8635-880A7459C701}" dt="2023-10-20T09:30:14.515" v="1741" actId="478"/>
          <ac:picMkLst>
            <pc:docMk/>
            <pc:sldMk cId="2409327819" sldId="3693"/>
            <ac:picMk id="5" creationId="{BC561765-9767-A42D-5123-5DE6F6DF1F48}"/>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D:\git\aks-initial-compliance-assessment\ClusterAssessment_Templat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lusterAssessment_Template.xlsx]Graph Data!PivotTable12</c:name>
    <c:fmtId val="4"/>
  </c:pivotSource>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rgbClr val="FF0000"/>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extLst>
        </c:dLbl>
      </c:pivotFmt>
      <c:pivotFmt>
        <c:idx val="2"/>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rgbClr val="FF0000"/>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extLst>
        </c:dLbl>
      </c:pivotFmt>
      <c:pivotFmt>
        <c:idx val="4"/>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rgbClr val="FF0000"/>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extLst>
        </c:dLbl>
      </c:pivotFmt>
    </c:pivotFmts>
    <c:plotArea>
      <c:layout/>
      <c:doughnutChart>
        <c:varyColors val="1"/>
        <c:ser>
          <c:idx val="0"/>
          <c:order val="0"/>
          <c:tx>
            <c:strRef>
              <c:f>'Graph Data'!$B$48</c:f>
              <c:strCache>
                <c:ptCount val="1"/>
                <c:pt idx="0">
                  <c:v>Total</c:v>
                </c:pt>
              </c:strCache>
            </c:strRef>
          </c:tx>
          <c:spPr>
            <a:solidFill>
              <a:srgbClr val="FF0000"/>
            </a:solidFill>
          </c:spPr>
          <c:dPt>
            <c:idx val="0"/>
            <c:bubble3D val="0"/>
            <c:spPr>
              <a:solidFill>
                <a:srgbClr val="FF0000"/>
              </a:solidFill>
              <a:ln>
                <a:noFill/>
              </a:ln>
              <a:effectLst/>
            </c:spPr>
            <c:extLst>
              <c:ext xmlns:c16="http://schemas.microsoft.com/office/drawing/2014/chart" uri="{C3380CC4-5D6E-409C-BE32-E72D297353CC}">
                <c16:uniqueId val="{00000001-809D-4307-AEC3-3EAC138C54D6}"/>
              </c:ext>
            </c:extLst>
          </c:dPt>
          <c:dLbls>
            <c:dLbl>
              <c:idx val="0"/>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809D-4307-AEC3-3EAC138C54D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Graph Data'!$A$49:$A$50</c:f>
              <c:strCache>
                <c:ptCount val="1"/>
                <c:pt idx="0">
                  <c:v>1</c:v>
                </c:pt>
              </c:strCache>
            </c:strRef>
          </c:cat>
          <c:val>
            <c:numRef>
              <c:f>'Graph Data'!$B$49:$B$50</c:f>
              <c:numCache>
                <c:formatCode>General</c:formatCode>
                <c:ptCount val="1"/>
                <c:pt idx="0">
                  <c:v>2</c:v>
                </c:pt>
              </c:numCache>
            </c:numRef>
          </c:val>
          <c:extLst>
            <c:ext xmlns:c16="http://schemas.microsoft.com/office/drawing/2014/chart" uri="{C3380CC4-5D6E-409C-BE32-E72D297353CC}">
              <c16:uniqueId val="{00000002-809D-4307-AEC3-3EAC138C54D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1/2023 4:0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1/2023 4:09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058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53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197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524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1304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2120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3057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6879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8175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243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4914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13700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2576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6619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2489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94548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7261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6023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98672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0485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8621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5870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76599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87783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2/1/2023 4:09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5</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8353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1945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4041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189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8585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B143FB-BF09-44F4-AF63-7F2479D7361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7807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www.microsoft.com/en-us/legal/intellectualproperty/Permissions/default.aspx"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lkin">
    <p:bg>
      <p:bgPr>
        <a:solidFill>
          <a:schemeClr val="accent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140F744-8F47-4AB9-B647-F839F9BC84F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74134BFC-B77F-42B5-9B18-D7A711C0BC19}"/>
              </a:ext>
            </a:extLst>
          </p:cNvPr>
          <p:cNvSpPr/>
          <p:nvPr/>
        </p:nvSpPr>
        <p:spPr bwMode="auto">
          <a:xfrm>
            <a:off x="0" y="0"/>
            <a:ext cx="9398000" cy="6858000"/>
          </a:xfrm>
          <a:prstGeom prst="rect">
            <a:avLst/>
          </a:prstGeom>
          <a:gradFill flip="none" rotWithShape="1">
            <a:gsLst>
              <a:gs pos="53000">
                <a:schemeClr val="tx1">
                  <a:alpha val="0"/>
                </a:schemeClr>
              </a:gs>
              <a:gs pos="100000">
                <a:schemeClr val="tx1">
                  <a:alpha val="4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a:extLst>
              <a:ext uri="{FF2B5EF4-FFF2-40B4-BE49-F238E27FC236}">
                <a16:creationId xmlns:a16="http://schemas.microsoft.com/office/drawing/2014/main" id="{3FA34905-64FC-4BF3-BD0C-9FA1ECB50E75}"/>
              </a:ext>
            </a:extLst>
          </p:cNvPr>
          <p:cNvSpPr/>
          <p:nvPr/>
        </p:nvSpPr>
        <p:spPr>
          <a:xfrm>
            <a:off x="584200" y="3758087"/>
            <a:ext cx="9150350" cy="738664"/>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sz="4800" kern="1200" spc="0" baseline="0">
                <a:solidFill>
                  <a:schemeClr val="bg1"/>
                </a:solidFill>
                <a:latin typeface="+mj-lt"/>
                <a:ea typeface="+mn-ea"/>
                <a:cs typeface="Segoe UI" panose="020B0502040204020203" pitchFamily="34" charset="0"/>
              </a:rPr>
              <a:t>Event Title</a:t>
            </a:r>
          </a:p>
        </p:txBody>
      </p:sp>
      <p:grpSp>
        <p:nvGrpSpPr>
          <p:cNvPr id="107" name="Group 4">
            <a:extLst>
              <a:ext uri="{FF2B5EF4-FFF2-40B4-BE49-F238E27FC236}">
                <a16:creationId xmlns:a16="http://schemas.microsoft.com/office/drawing/2014/main" id="{B892F486-ADDB-4DDF-A065-B8A1FC825911}"/>
              </a:ext>
            </a:extLst>
          </p:cNvPr>
          <p:cNvGrpSpPr>
            <a:grpSpLocks noChangeAspect="1"/>
          </p:cNvGrpSpPr>
          <p:nvPr/>
        </p:nvGrpSpPr>
        <p:grpSpPr bwMode="auto">
          <a:xfrm>
            <a:off x="584200" y="585788"/>
            <a:ext cx="1366838" cy="292100"/>
            <a:chOff x="368" y="369"/>
            <a:chExt cx="861" cy="184"/>
          </a:xfrm>
        </p:grpSpPr>
        <p:sp>
          <p:nvSpPr>
            <p:cNvPr id="109" name="AutoShape 3">
              <a:extLst>
                <a:ext uri="{FF2B5EF4-FFF2-40B4-BE49-F238E27FC236}">
                  <a16:creationId xmlns:a16="http://schemas.microsoft.com/office/drawing/2014/main" id="{1F1E8A6D-9CB5-49D8-BB17-6FFD811CD5DE}"/>
                </a:ext>
              </a:extLst>
            </p:cNvPr>
            <p:cNvSpPr>
              <a:spLocks noChangeAspect="1" noChangeArrowheads="1" noTextEdit="1"/>
            </p:cNvSpPr>
            <p:nvPr/>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5">
              <a:extLst>
                <a:ext uri="{FF2B5EF4-FFF2-40B4-BE49-F238E27FC236}">
                  <a16:creationId xmlns:a16="http://schemas.microsoft.com/office/drawing/2014/main" id="{A3C1369A-0D09-4E69-B47C-61F39C4B75D7}"/>
                </a:ext>
              </a:extLst>
            </p:cNvPr>
            <p:cNvSpPr>
              <a:spLocks noEditPoints="1"/>
            </p:cNvSpPr>
            <p:nvPr/>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6"/>
                </a:solidFill>
              </a:endParaRPr>
            </a:p>
          </p:txBody>
        </p:sp>
        <p:sp>
          <p:nvSpPr>
            <p:cNvPr id="111" name="Rectangle 6">
              <a:extLst>
                <a:ext uri="{FF2B5EF4-FFF2-40B4-BE49-F238E27FC236}">
                  <a16:creationId xmlns:a16="http://schemas.microsoft.com/office/drawing/2014/main" id="{4EA506F5-24C0-4B3C-BEF7-FFB35A927A55}"/>
                </a:ext>
              </a:extLst>
            </p:cNvPr>
            <p:cNvSpPr>
              <a:spLocks noChangeArrowheads="1"/>
            </p:cNvSpPr>
            <p:nvPr/>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a:extLst>
                <a:ext uri="{FF2B5EF4-FFF2-40B4-BE49-F238E27FC236}">
                  <a16:creationId xmlns:a16="http://schemas.microsoft.com/office/drawing/2014/main" id="{3D6315D5-5471-4BD6-B899-77D5BA8610A4}"/>
                </a:ext>
              </a:extLst>
            </p:cNvPr>
            <p:cNvSpPr>
              <a:spLocks noChangeArrowheads="1"/>
            </p:cNvSpPr>
            <p:nvPr/>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8">
              <a:extLst>
                <a:ext uri="{FF2B5EF4-FFF2-40B4-BE49-F238E27FC236}">
                  <a16:creationId xmlns:a16="http://schemas.microsoft.com/office/drawing/2014/main" id="{6F672A88-1C96-4C8C-95BA-CEB808724B43}"/>
                </a:ext>
              </a:extLst>
            </p:cNvPr>
            <p:cNvSpPr>
              <a:spLocks noChangeArrowheads="1"/>
            </p:cNvSpPr>
            <p:nvPr/>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9">
              <a:extLst>
                <a:ext uri="{FF2B5EF4-FFF2-40B4-BE49-F238E27FC236}">
                  <a16:creationId xmlns:a16="http://schemas.microsoft.com/office/drawing/2014/main" id="{D6D43EAF-2F19-4E4F-A3ED-9C607AADDB89}"/>
                </a:ext>
              </a:extLst>
            </p:cNvPr>
            <p:cNvSpPr>
              <a:spLocks noChangeArrowheads="1"/>
            </p:cNvSpPr>
            <p:nvPr/>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27769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065745"/>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78714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16734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365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456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55547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52718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237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18867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55457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82056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35190313"/>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794136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074683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96292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174008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799598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49498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41649818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6085107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7353617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55080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46562425"/>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3840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55794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Box 3">
            <a:extLst>
              <a:ext uri="{FF2B5EF4-FFF2-40B4-BE49-F238E27FC236}">
                <a16:creationId xmlns:a16="http://schemas.microsoft.com/office/drawing/2014/main" id="{649D238B-1449-42D5-847E-E0CC878B792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lumMod val="50000"/>
                    <a:lumOff val="50000"/>
                  </a:schemeClr>
                </a:solidFill>
                <a:cs typeface="Segoe UI" pitchFamily="34" charset="0"/>
              </a:rPr>
              <a:t>©Microsoft Corporation									                                                                                                                                             Azure </a:t>
            </a:r>
          </a:p>
        </p:txBody>
      </p:sp>
    </p:spTree>
    <p:extLst>
      <p:ext uri="{BB962C8B-B14F-4D97-AF65-F5344CB8AC3E}">
        <p14:creationId xmlns:p14="http://schemas.microsoft.com/office/powerpoint/2010/main" val="395697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9694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217311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5250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16665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4251213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14659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17340439"/>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3893290"/>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4958615"/>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6923300"/>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10565975"/>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16379481"/>
      </p:ext>
    </p:extLst>
  </p:cSld>
  <p:clrMapOvr>
    <a:masterClrMapping/>
  </p:clrMapOvr>
  <p:transition>
    <p:fade/>
  </p:transition>
  <p:hf sldNum="0" hdr="0" ftr="0" dt="0"/>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898894"/>
      </p:ext>
    </p:extLst>
  </p:cSld>
  <p:clrMapOvr>
    <a:masterClrMapping/>
  </p:clrMapOvr>
  <p:transition>
    <p:fade/>
  </p:transition>
  <p:hf sldNum="0" hdr="0" ftr="0" dt="0"/>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bg2"/>
        </a:solidFill>
        <a:effectLst/>
      </p:bgPr>
    </p:bg>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0612201D-4184-447A-9B94-DFFFA13E404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629272" y="1657"/>
            <a:ext cx="6562727" cy="6854685"/>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solidFill>
                  <a:schemeClr val="tx1"/>
                </a:solidFill>
              </a:defRPr>
            </a:lvl1pPr>
          </a:lstStyle>
          <a:p>
            <a:r>
              <a:rPr lang="en-US"/>
              <a:t>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939241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31473607"/>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38353964"/>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7689040"/>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13083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hoto opti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DA6901D4-19D2-42DC-AD8E-8A2EEDF6259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833427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photo option 2">
    <p:bg>
      <p:bgRef idx="1001">
        <a:schemeClr val="bg1"/>
      </p:bgRef>
    </p:bg>
    <p:spTree>
      <p:nvGrpSpPr>
        <p:cNvPr id="1" name=""/>
        <p:cNvGrpSpPr/>
        <p:nvPr/>
      </p:nvGrpSpPr>
      <p:grpSpPr>
        <a:xfrm>
          <a:off x="0" y="0"/>
          <a:ext cx="0" cy="0"/>
          <a:chOff x="0" y="0"/>
          <a:chExt cx="0" cy="0"/>
        </a:xfrm>
      </p:grpSpPr>
      <p:pic>
        <p:nvPicPr>
          <p:cNvPr id="6" name="Picture 5" descr="A group of people sitting at a table&#10;&#10;Description automatically generated">
            <a:extLst>
              <a:ext uri="{FF2B5EF4-FFF2-40B4-BE49-F238E27FC236}">
                <a16:creationId xmlns:a16="http://schemas.microsoft.com/office/drawing/2014/main" id="{AFC63F02-0667-4A89-9818-5C31B73FE3C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790652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hoto option 3">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79C4329-5C7D-4DB4-B5B6-725530AA2D7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2806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slide photo option 4">
    <p:bg>
      <p:bgRef idx="1001">
        <a:schemeClr val="bg1"/>
      </p:bgRef>
    </p:bg>
    <p:spTree>
      <p:nvGrpSpPr>
        <p:cNvPr id="1" name=""/>
        <p:cNvGrpSpPr/>
        <p:nvPr/>
      </p:nvGrpSpPr>
      <p:grpSpPr>
        <a:xfrm>
          <a:off x="0" y="0"/>
          <a:ext cx="0" cy="0"/>
          <a:chOff x="0" y="0"/>
          <a:chExt cx="0" cy="0"/>
        </a:xfrm>
      </p:grpSpPr>
      <p:pic>
        <p:nvPicPr>
          <p:cNvPr id="7" name="Picture 6" descr="A group of people sitting at a table&#10;&#10;Description automatically generated">
            <a:extLst>
              <a:ext uri="{FF2B5EF4-FFF2-40B4-BE49-F238E27FC236}">
                <a16:creationId xmlns:a16="http://schemas.microsoft.com/office/drawing/2014/main" id="{556B33B7-5F6F-4228-8E63-474574B573B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3223"/>
            <a:ext cx="41518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518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54570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12220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slide photo option 1">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6E6C72-B6B3-4FCF-81A7-0174748E91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9783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517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slide photo option 2">
    <p:bg>
      <p:bgRef idx="1001">
        <a:schemeClr val="bg1"/>
      </p:bgRef>
    </p:bg>
    <p:spTree>
      <p:nvGrpSpPr>
        <p:cNvPr id="1" name=""/>
        <p:cNvGrpSpPr/>
        <p:nvPr/>
      </p:nvGrpSpPr>
      <p:grpSpPr>
        <a:xfrm>
          <a:off x="0" y="0"/>
          <a:ext cx="0" cy="0"/>
          <a:chOff x="0" y="0"/>
          <a:chExt cx="0" cy="0"/>
        </a:xfrm>
      </p:grpSpPr>
      <p:pic>
        <p:nvPicPr>
          <p:cNvPr id="5" name="Picture 4" descr="A group of people sitting at a table&#10;&#10;Description automatically generated">
            <a:extLst>
              <a:ext uri="{FF2B5EF4-FFF2-40B4-BE49-F238E27FC236}">
                <a16:creationId xmlns:a16="http://schemas.microsoft.com/office/drawing/2014/main" id="{D8E3A7A9-CD01-4A32-8AC8-9731DE746B0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3077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slide photo option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4338215D-3E54-4B73-A757-E49BC912832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2066420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slide photo option 4">
    <p:bg>
      <p:bgRef idx="1001">
        <a:schemeClr val="bg1"/>
      </p:bgRef>
    </p:bg>
    <p:spTree>
      <p:nvGrpSpPr>
        <p:cNvPr id="1" name=""/>
        <p:cNvGrpSpPr/>
        <p:nvPr/>
      </p:nvGrpSpPr>
      <p:grpSpPr>
        <a:xfrm>
          <a:off x="0" y="0"/>
          <a:ext cx="0" cy="0"/>
          <a:chOff x="0" y="0"/>
          <a:chExt cx="0" cy="0"/>
        </a:xfrm>
      </p:grpSpPr>
      <p:pic>
        <p:nvPicPr>
          <p:cNvPr id="5" name="Picture 4" descr="A group of people sitting at a table&#10;&#10;Description automatically generated">
            <a:extLst>
              <a:ext uri="{FF2B5EF4-FFF2-40B4-BE49-F238E27FC236}">
                <a16:creationId xmlns:a16="http://schemas.microsoft.com/office/drawing/2014/main" id="{8CBC1296-75FB-47A7-8620-9943EED4286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2" name="Title 1"/>
          <p:cNvSpPr>
            <a:spLocks noGrp="1"/>
          </p:cNvSpPr>
          <p:nvPr>
            <p:ph type="title" hasCustomPrompt="1"/>
          </p:nvPr>
        </p:nvSpPr>
        <p:spPr>
          <a:xfrm>
            <a:off x="585216" y="3035808"/>
            <a:ext cx="41645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68542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7765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7683899"/>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79737"/>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
        <p:nvSpPr>
          <p:cNvPr id="4" name="Text Box 3">
            <a:extLst>
              <a:ext uri="{FF2B5EF4-FFF2-40B4-BE49-F238E27FC236}">
                <a16:creationId xmlns:a16="http://schemas.microsoft.com/office/drawing/2014/main" id="{D9A1F03F-6493-4D7B-A479-0EAA604D854B}"/>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2C944CDA-965D-4284-85A5-C9DC5F8DC7A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878741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4554904"/>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839072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1" y="257105"/>
            <a:ext cx="11811000" cy="5962650"/>
          </a:xfrm>
          <a:prstGeom prst="rect">
            <a:avLst/>
          </a:prstGeom>
        </p:spPr>
        <p:txBody>
          <a:bodyPr>
            <a:no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Conditions and Terms of Use</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900" b="0" i="0" u="none" strike="noStrike" kern="1200" cap="none" spc="0" normalizeH="0" baseline="0" noProof="0" dirty="0">
                <a:ln>
                  <a:noFill/>
                </a:ln>
                <a:solidFill>
                  <a:srgbClr val="0A5BBA"/>
                </a:solidFill>
                <a:effectLst/>
                <a:uLnTx/>
                <a:uFillTx/>
                <a:latin typeface="+mn-lt"/>
                <a:ea typeface="+mn-ea"/>
                <a:cs typeface="Segoe UI Light" panose="020B0502040204020203" pitchFamily="34" charset="0"/>
              </a:rPr>
              <a:t>Microsoft Confidential</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marL="112691" marR="0" lvl="0" indent="6348" algn="l" defTabSz="914225" rtl="0" eaLnBrk="1" fontAlgn="auto" latinLnBrk="0" hangingPunct="1">
              <a:lnSpc>
                <a:spcPct val="134000"/>
              </a:lnSpc>
              <a:spcBef>
                <a:spcPct val="20000"/>
              </a:spcBef>
              <a:spcAft>
                <a:spcPts val="12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Copyright and Trademarks </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900" b="0" i="0" u="none" strike="noStrike" kern="1200" cap="none" spc="0" normalizeH="0" baseline="0" noProof="0" dirty="0">
                <a:ln>
                  <a:noFill/>
                </a:ln>
                <a:solidFill>
                  <a:srgbClr val="0A5BBA"/>
                </a:solidFill>
                <a:effectLst/>
                <a:uLnTx/>
                <a:uFillTx/>
                <a:latin typeface="+mn-lt"/>
                <a:ea typeface="+mn-ea"/>
                <a:cs typeface="Segoe UI Light" panose="020B0502040204020203" pitchFamily="34" charset="0"/>
              </a:rPr>
              <a:t>© 2021 Microsoft Corporation. All rights reserved.</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marL="112691" marR="0" lvl="0" indent="6348" algn="ctr"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For more information, see </a:t>
            </a:r>
            <a:r>
              <a:rPr kumimoji="0" lang="en-US" sz="1100" b="1"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Use of Microsoft Copyrighted Content </a:t>
            </a: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at</a:t>
            </a:r>
            <a:b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br>
            <a:r>
              <a:rPr kumimoji="0" lang="en-US" sz="1100" b="0" i="0" u="none" strike="noStrike" kern="1200" cap="none" spc="0" normalizeH="0" baseline="0" noProof="0" dirty="0">
                <a:ln>
                  <a:noFill/>
                </a:ln>
                <a:solidFill>
                  <a:srgbClr val="FF0000"/>
                </a:solidFill>
                <a:effectLst/>
                <a:uLnTx/>
                <a:uFillTx/>
                <a:latin typeface="+mn-lt"/>
                <a:ea typeface="+mn-ea"/>
                <a:cs typeface="Segoe UI Light" panose="020B0502040204020203" pitchFamily="34" charset="0"/>
                <a:hlinkClick r:id="rId2"/>
              </a:rPr>
              <a:t>http://www.microsoft.com/en-us/legal/intellectualproperty/Permissions/default.aspx</a:t>
            </a:r>
            <a:r>
              <a:rPr kumimoji="0" lang="en-US" sz="1100" b="0" i="0" u="none" strike="noStrike" kern="1200" cap="none" spc="0" normalizeH="0" baseline="0" noProof="0" dirty="0">
                <a:ln>
                  <a:noFill/>
                </a:ln>
                <a:solidFill>
                  <a:srgbClr val="FF0000"/>
                </a:solidFill>
                <a:effectLst/>
                <a:uLnTx/>
                <a:uFillTx/>
                <a:latin typeface="+mn-lt"/>
                <a:ea typeface="+mn-ea"/>
                <a:cs typeface="Segoe UI Light" panose="020B0502040204020203" pitchFamily="34" charset="0"/>
              </a:rPr>
              <a:t> </a:t>
            </a:r>
          </a:p>
          <a:p>
            <a:pPr marL="112691" marR="0" lvl="0" indent="6348" algn="l" defTabSz="914225" rtl="0" eaLnBrk="1" fontAlgn="auto" latinLnBrk="0" hangingPunct="1">
              <a:lnSpc>
                <a:spcPct val="134000"/>
              </a:lnSpc>
              <a:spcBef>
                <a:spcPct val="20000"/>
              </a:spcBef>
              <a:spcAft>
                <a:spcPts val="300"/>
              </a:spcAft>
              <a:buClrTx/>
              <a:buSzPct val="100000"/>
              <a:buFont typeface="Arial"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Segoe UI Light" panose="020B0502040204020203" pitchFamily="34" charset="0"/>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11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1209564104"/>
      </p:ext>
    </p:extLst>
  </p:cSld>
  <p:clrMapOvr>
    <a:masterClrMapping/>
  </p:clrMapOvr>
  <p:transition>
    <p:fade/>
  </p:transition>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06616"/>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8E5AB2-5657-4A1A-ABFA-01BED303BA9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51747" y="3076778"/>
            <a:ext cx="3288506" cy="704444"/>
          </a:xfrm>
          <a:prstGeom prst="rect">
            <a:avLst/>
          </a:prstGeom>
        </p:spPr>
      </p:pic>
    </p:spTree>
    <p:extLst>
      <p:ext uri="{BB962C8B-B14F-4D97-AF65-F5344CB8AC3E}">
        <p14:creationId xmlns:p14="http://schemas.microsoft.com/office/powerpoint/2010/main" val="2822101856"/>
      </p:ext>
    </p:extLst>
  </p:cSld>
  <p:clrMapOvr>
    <a:masterClrMapping/>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resenation Titl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6C4AA082-F3F9-C449-B8A2-3E0C17691D0B}"/>
              </a:ext>
            </a:extLst>
          </p:cNvPr>
          <p:cNvSpPr>
            <a:spLocks noGrp="1"/>
          </p:cNvSpPr>
          <p:nvPr>
            <p:ph type="pic" sz="quarter" idx="16" hasCustomPrompt="1"/>
          </p:nvPr>
        </p:nvSpPr>
        <p:spPr>
          <a:xfrm>
            <a:off x="19639" y="0"/>
            <a:ext cx="12192000" cy="6810376"/>
          </a:xfrm>
          <a:prstGeom prst="rect">
            <a:avLst/>
          </a:prstGeom>
        </p:spPr>
        <p:txBody>
          <a:bodyPr>
            <a:normAutofit/>
          </a:bodyPr>
          <a:lstStyle>
            <a:lvl1pPr marL="0" indent="0">
              <a:buNone/>
              <a:defRPr sz="2800" b="0" i="0">
                <a:latin typeface="Segoe UI" panose="020B0502040204020203" pitchFamily="34" charset="0"/>
                <a:ea typeface="Segoe UI Symbol" panose="020B0502040204020203" pitchFamily="34" charset="0"/>
                <a:cs typeface="Segoe UI" panose="020B0502040204020203" pitchFamily="34" charset="0"/>
              </a:defRPr>
            </a:lvl1pPr>
          </a:lstStyle>
          <a:p>
            <a:r>
              <a:rPr lang="en-US" sz="2000">
                <a:latin typeface="Segoe UI Symbol" panose="020B0502040204020203" pitchFamily="34" charset="0"/>
                <a:ea typeface="Segoe UI Symbol" panose="020B0502040204020203" pitchFamily="34" charset="0"/>
              </a:rPr>
              <a:t>Tap to insert photo or illustration</a:t>
            </a:r>
            <a:endParaRPr lang="en-US"/>
          </a:p>
        </p:txBody>
      </p:sp>
      <p:sp>
        <p:nvSpPr>
          <p:cNvPr id="8" name="Title 2">
            <a:extLst>
              <a:ext uri="{FF2B5EF4-FFF2-40B4-BE49-F238E27FC236}">
                <a16:creationId xmlns:a16="http://schemas.microsoft.com/office/drawing/2014/main" id="{36BE9BB2-3A04-0448-AF8A-25C7CF019CF9}"/>
              </a:ext>
            </a:extLst>
          </p:cNvPr>
          <p:cNvSpPr>
            <a:spLocks noGrp="1"/>
          </p:cNvSpPr>
          <p:nvPr>
            <p:ph type="title" hasCustomPrompt="1"/>
          </p:nvPr>
        </p:nvSpPr>
        <p:spPr>
          <a:xfrm>
            <a:off x="584200" y="2979778"/>
            <a:ext cx="5083629" cy="553998"/>
          </a:xfrm>
          <a:prstGeom prst="rect">
            <a:avLst/>
          </a:prstGeom>
        </p:spPr>
        <p:txBody>
          <a:bodyPr>
            <a:noAutofit/>
          </a:bodyPr>
          <a:lstStyle>
            <a:lvl1pPr>
              <a:defRPr sz="3600" b="1" i="0">
                <a:latin typeface="Segoe UI Semibold" panose="020B0402040204020203" pitchFamily="34" charset="0"/>
                <a:ea typeface="Segoe UI Symbol" panose="020B0502040204020203" pitchFamily="34" charset="0"/>
                <a:cs typeface="Segoe UI Semibold" panose="020B0402040204020203" pitchFamily="34" charset="0"/>
              </a:defRPr>
            </a:lvl1pPr>
          </a:lstStyle>
          <a:p>
            <a:r>
              <a:rPr lang="en-US"/>
              <a:t>Presentation Title</a:t>
            </a:r>
          </a:p>
        </p:txBody>
      </p:sp>
      <p:sp>
        <p:nvSpPr>
          <p:cNvPr id="12" name="Text Placeholder 4">
            <a:extLst>
              <a:ext uri="{FF2B5EF4-FFF2-40B4-BE49-F238E27FC236}">
                <a16:creationId xmlns:a16="http://schemas.microsoft.com/office/drawing/2014/main" id="{778CA72E-A65D-7644-A3A5-5D324F4E110A}"/>
              </a:ext>
            </a:extLst>
          </p:cNvPr>
          <p:cNvSpPr>
            <a:spLocks noGrp="1"/>
          </p:cNvSpPr>
          <p:nvPr>
            <p:ph type="body" sz="quarter" idx="15" hasCustomPrompt="1"/>
          </p:nvPr>
        </p:nvSpPr>
        <p:spPr>
          <a:xfrm>
            <a:off x="583764" y="4596161"/>
            <a:ext cx="10693835" cy="356839"/>
          </a:xfrm>
          <a:prstGeom prst="rect">
            <a:avLst/>
          </a:prstGeom>
        </p:spPr>
        <p:txBody>
          <a:bodyPr/>
          <a:lstStyle>
            <a:lvl1pPr marL="0" indent="0">
              <a:buNone/>
              <a:defRPr sz="2000" b="0" i="0">
                <a:latin typeface="Segoe UI" panose="020B0502040204020203" pitchFamily="34" charset="0"/>
                <a:ea typeface="Segoe UI Symbol" panose="020B0502040204020203" pitchFamily="34" charset="0"/>
                <a:cs typeface="Segoe UI" panose="020B0502040204020203" pitchFamily="34" charset="0"/>
              </a:defRPr>
            </a:lvl1pPr>
          </a:lstStyle>
          <a:p>
            <a:r>
              <a:rPr lang="en-US"/>
              <a:t>Customer name</a:t>
            </a:r>
          </a:p>
        </p:txBody>
      </p:sp>
      <p:pic>
        <p:nvPicPr>
          <p:cNvPr id="13" name="MS logo gray - EMF" descr="Microsoft logo, gray text version">
            <a:extLst>
              <a:ext uri="{FF2B5EF4-FFF2-40B4-BE49-F238E27FC236}">
                <a16:creationId xmlns:a16="http://schemas.microsoft.com/office/drawing/2014/main" id="{B2066C71-3F3C-6046-9598-AB1C670E09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4" name="Text Placeholder 13">
            <a:extLst>
              <a:ext uri="{FF2B5EF4-FFF2-40B4-BE49-F238E27FC236}">
                <a16:creationId xmlns:a16="http://schemas.microsoft.com/office/drawing/2014/main" id="{1CD2CF91-5070-4985-8259-3E89676FBCAA}"/>
              </a:ext>
            </a:extLst>
          </p:cNvPr>
          <p:cNvSpPr>
            <a:spLocks noGrp="1"/>
          </p:cNvSpPr>
          <p:nvPr>
            <p:ph type="body" sz="quarter" idx="21" hasCustomPrompt="1"/>
          </p:nvPr>
        </p:nvSpPr>
        <p:spPr>
          <a:xfrm>
            <a:off x="584200" y="4047433"/>
            <a:ext cx="10693400" cy="448367"/>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Prepared for:</a:t>
            </a:r>
          </a:p>
        </p:txBody>
      </p:sp>
      <p:sp>
        <p:nvSpPr>
          <p:cNvPr id="16" name="Text Placeholder 15">
            <a:extLst>
              <a:ext uri="{FF2B5EF4-FFF2-40B4-BE49-F238E27FC236}">
                <a16:creationId xmlns:a16="http://schemas.microsoft.com/office/drawing/2014/main" id="{4CB873E9-1D5D-4381-A984-FDB22C3AB4FD}"/>
              </a:ext>
            </a:extLst>
          </p:cNvPr>
          <p:cNvSpPr>
            <a:spLocks noGrp="1"/>
          </p:cNvSpPr>
          <p:nvPr>
            <p:ph type="body" sz="quarter" idx="22" hasCustomPrompt="1"/>
          </p:nvPr>
        </p:nvSpPr>
        <p:spPr>
          <a:xfrm>
            <a:off x="583764" y="6048374"/>
            <a:ext cx="10693398" cy="386257"/>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Date: </a:t>
            </a:r>
          </a:p>
        </p:txBody>
      </p:sp>
      <p:sp>
        <p:nvSpPr>
          <p:cNvPr id="23" name="Text Placeholder 22">
            <a:extLst>
              <a:ext uri="{FF2B5EF4-FFF2-40B4-BE49-F238E27FC236}">
                <a16:creationId xmlns:a16="http://schemas.microsoft.com/office/drawing/2014/main" id="{9CEB91CC-843E-4705-80CD-2C4BCE42CAFF}"/>
              </a:ext>
            </a:extLst>
          </p:cNvPr>
          <p:cNvSpPr>
            <a:spLocks noGrp="1"/>
          </p:cNvSpPr>
          <p:nvPr>
            <p:ph type="body" sz="quarter" idx="23" hasCustomPrompt="1"/>
          </p:nvPr>
        </p:nvSpPr>
        <p:spPr>
          <a:xfrm>
            <a:off x="583764" y="5048943"/>
            <a:ext cx="10693398" cy="356839"/>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Prepared by: </a:t>
            </a:r>
          </a:p>
        </p:txBody>
      </p:sp>
      <p:sp>
        <p:nvSpPr>
          <p:cNvPr id="25" name="Text Placeholder 24">
            <a:extLst>
              <a:ext uri="{FF2B5EF4-FFF2-40B4-BE49-F238E27FC236}">
                <a16:creationId xmlns:a16="http://schemas.microsoft.com/office/drawing/2014/main" id="{83F49C7E-F71E-46FE-AD3C-C66426FB38A1}"/>
              </a:ext>
            </a:extLst>
          </p:cNvPr>
          <p:cNvSpPr>
            <a:spLocks noGrp="1"/>
          </p:cNvSpPr>
          <p:nvPr>
            <p:ph type="body" sz="quarter" idx="24" hasCustomPrompt="1"/>
          </p:nvPr>
        </p:nvSpPr>
        <p:spPr>
          <a:xfrm>
            <a:off x="584200" y="5543204"/>
            <a:ext cx="10515600" cy="386256"/>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Presenter name, title</a:t>
            </a:r>
          </a:p>
        </p:txBody>
      </p:sp>
    </p:spTree>
    <p:extLst>
      <p:ext uri="{BB962C8B-B14F-4D97-AF65-F5344CB8AC3E}">
        <p14:creationId xmlns:p14="http://schemas.microsoft.com/office/powerpoint/2010/main" val="25880964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83970"/>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35931"/>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916313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C3BD733-508D-40B2-A3EB-813705E251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08007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2">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6" name="Rectangle 5">
            <a:extLst>
              <a:ext uri="{FF2B5EF4-FFF2-40B4-BE49-F238E27FC236}">
                <a16:creationId xmlns:a16="http://schemas.microsoft.com/office/drawing/2014/main" id="{E2782552-60EB-4284-96C6-882E10D3F8B2}"/>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Spring 2020</a:t>
            </a:r>
          </a:p>
        </p:txBody>
      </p:sp>
      <p:pic>
        <p:nvPicPr>
          <p:cNvPr id="3" name="Picture 2" descr="A picture containing person, man, sitting, woman&#10;&#10;Description automatically generated">
            <a:extLst>
              <a:ext uri="{FF2B5EF4-FFF2-40B4-BE49-F238E27FC236}">
                <a16:creationId xmlns:a16="http://schemas.microsoft.com/office/drawing/2014/main" id="{18DE4503-19ED-4210-8CB4-4C51086CE3B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518522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Walkin 4">
    <p:bg>
      <p:bgPr>
        <a:solidFill>
          <a:srgbClr val="0070C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6" name="Rectangle 5">
            <a:extLst>
              <a:ext uri="{FF2B5EF4-FFF2-40B4-BE49-F238E27FC236}">
                <a16:creationId xmlns:a16="http://schemas.microsoft.com/office/drawing/2014/main" id="{B0420A7A-183F-4EEA-91C2-B3CC4CDCE53C}"/>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pic>
        <p:nvPicPr>
          <p:cNvPr id="3" name="Picture 2" descr="A person standing in front of a window&#10;&#10;Description automatically generated">
            <a:extLst>
              <a:ext uri="{FF2B5EF4-FFF2-40B4-BE49-F238E27FC236}">
                <a16:creationId xmlns:a16="http://schemas.microsoft.com/office/drawing/2014/main" id="{B14D253D-28E7-4AF3-8949-D1BA1FBB4F3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59093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Walkin 3">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4" name="Picture 3">
            <a:extLst>
              <a:ext uri="{FF2B5EF4-FFF2-40B4-BE49-F238E27FC236}">
                <a16:creationId xmlns:a16="http://schemas.microsoft.com/office/drawing/2014/main" id="{3CE62B4A-B26A-4952-A251-9576C54D8264}"/>
              </a:ext>
            </a:extLst>
          </p:cNvPr>
          <p:cNvPicPr>
            <a:picLocks noChangeAspect="1"/>
          </p:cNvPicPr>
          <p:nvPr userDrawn="1"/>
        </p:nvPicPr>
        <p:blipFill>
          <a:blip r:embed="rId3"/>
          <a:stretch>
            <a:fillRect/>
          </a:stretch>
        </p:blipFill>
        <p:spPr>
          <a:xfrm>
            <a:off x="5334000" y="0"/>
            <a:ext cx="6858000" cy="6858000"/>
          </a:xfrm>
          <a:prstGeom prst="rect">
            <a:avLst/>
          </a:prstGeom>
        </p:spPr>
      </p:pic>
      <p:sp>
        <p:nvSpPr>
          <p:cNvPr id="8" name="Rectangle 7">
            <a:extLst>
              <a:ext uri="{FF2B5EF4-FFF2-40B4-BE49-F238E27FC236}">
                <a16:creationId xmlns:a16="http://schemas.microsoft.com/office/drawing/2014/main" id="{DDB915C0-1175-4663-8A3E-62A5E7C1A975}"/>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spTree>
    <p:extLst>
      <p:ext uri="{BB962C8B-B14F-4D97-AF65-F5344CB8AC3E}">
        <p14:creationId xmlns:p14="http://schemas.microsoft.com/office/powerpoint/2010/main" val="1333610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Walkin 4">
    <p:bg>
      <p:bgPr>
        <a:solidFill>
          <a:srgbClr val="0070C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6" name="Rectangle 5">
            <a:extLst>
              <a:ext uri="{FF2B5EF4-FFF2-40B4-BE49-F238E27FC236}">
                <a16:creationId xmlns:a16="http://schemas.microsoft.com/office/drawing/2014/main" id="{B0420A7A-183F-4EEA-91C2-B3CC4CDCE53C}"/>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pic>
        <p:nvPicPr>
          <p:cNvPr id="9" name="Picture 8" descr="Two people sitting on a bench&#10;&#10;Description automatically generated">
            <a:extLst>
              <a:ext uri="{FF2B5EF4-FFF2-40B4-BE49-F238E27FC236}">
                <a16:creationId xmlns:a16="http://schemas.microsoft.com/office/drawing/2014/main" id="{9D257758-1A59-4D96-A872-0808E1768DB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3999" y="0"/>
            <a:ext cx="6858001" cy="6858000"/>
          </a:xfrm>
          <a:prstGeom prst="rect">
            <a:avLst/>
          </a:prstGeom>
        </p:spPr>
      </p:pic>
    </p:spTree>
    <p:extLst>
      <p:ext uri="{BB962C8B-B14F-4D97-AF65-F5344CB8AC3E}">
        <p14:creationId xmlns:p14="http://schemas.microsoft.com/office/powerpoint/2010/main" val="1138030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Walkin 5">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9" name="Picture 8">
            <a:extLst>
              <a:ext uri="{FF2B5EF4-FFF2-40B4-BE49-F238E27FC236}">
                <a16:creationId xmlns:a16="http://schemas.microsoft.com/office/drawing/2014/main" id="{4978FDAA-0A1E-41B6-8468-AD60852CCD5D}"/>
              </a:ext>
            </a:extLst>
          </p:cNvPr>
          <p:cNvPicPr>
            <a:picLocks noChangeAspect="1"/>
          </p:cNvPicPr>
          <p:nvPr userDrawn="1"/>
        </p:nvPicPr>
        <p:blipFill>
          <a:blip r:embed="rId3"/>
          <a:stretch>
            <a:fillRect/>
          </a:stretch>
        </p:blipFill>
        <p:spPr>
          <a:xfrm>
            <a:off x="5334000" y="0"/>
            <a:ext cx="6858000" cy="6858000"/>
          </a:xfrm>
          <a:prstGeom prst="rect">
            <a:avLst/>
          </a:prstGeom>
        </p:spPr>
      </p:pic>
      <p:sp>
        <p:nvSpPr>
          <p:cNvPr id="6" name="Rectangle 5">
            <a:extLst>
              <a:ext uri="{FF2B5EF4-FFF2-40B4-BE49-F238E27FC236}">
                <a16:creationId xmlns:a16="http://schemas.microsoft.com/office/drawing/2014/main" id="{D320650B-F491-4DD7-9A4A-6D7F3F6421E4}"/>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spTree>
    <p:extLst>
      <p:ext uri="{BB962C8B-B14F-4D97-AF65-F5344CB8AC3E}">
        <p14:creationId xmlns:p14="http://schemas.microsoft.com/office/powerpoint/2010/main" val="1379796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Walkin 6">
    <p:bg>
      <p:bgPr>
        <a:solidFill>
          <a:srgbClr val="0070C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10" name="Picture 9">
            <a:extLst>
              <a:ext uri="{FF2B5EF4-FFF2-40B4-BE49-F238E27FC236}">
                <a16:creationId xmlns:a16="http://schemas.microsoft.com/office/drawing/2014/main" id="{BDF971B9-3477-4ED6-A907-06703D26781F}"/>
              </a:ext>
            </a:extLst>
          </p:cNvPr>
          <p:cNvPicPr>
            <a:picLocks noChangeAspect="1"/>
          </p:cNvPicPr>
          <p:nvPr userDrawn="1"/>
        </p:nvPicPr>
        <p:blipFill>
          <a:blip r:embed="rId3"/>
          <a:stretch>
            <a:fillRect/>
          </a:stretch>
        </p:blipFill>
        <p:spPr>
          <a:xfrm>
            <a:off x="5334000" y="0"/>
            <a:ext cx="6858000" cy="6858000"/>
          </a:xfrm>
          <a:prstGeom prst="rect">
            <a:avLst/>
          </a:prstGeom>
        </p:spPr>
      </p:pic>
      <p:sp>
        <p:nvSpPr>
          <p:cNvPr id="6" name="Rectangle 5">
            <a:extLst>
              <a:ext uri="{FF2B5EF4-FFF2-40B4-BE49-F238E27FC236}">
                <a16:creationId xmlns:a16="http://schemas.microsoft.com/office/drawing/2014/main" id="{575F06D1-B26B-4E52-9E2B-8AC87CDE15A1}"/>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54"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54"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54"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19 </a:t>
            </a:r>
          </a:p>
        </p:txBody>
      </p:sp>
    </p:spTree>
    <p:extLst>
      <p:ext uri="{BB962C8B-B14F-4D97-AF65-F5344CB8AC3E}">
        <p14:creationId xmlns:p14="http://schemas.microsoft.com/office/powerpoint/2010/main" val="1176698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5139B9-2C2B-4050-A804-51A715709A92}"/>
              </a:ext>
            </a:extLst>
          </p:cNvPr>
          <p:cNvSpPr/>
          <p:nvPr/>
        </p:nvSpPr>
        <p:spPr bwMode="auto">
          <a:xfrm>
            <a:off x="10032000" y="0"/>
            <a:ext cx="2160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4" y="457200"/>
            <a:ext cx="9325758" cy="553998"/>
          </a:xfrm>
        </p:spPr>
        <p:txBody>
          <a:bodyPr/>
          <a:lstStyle/>
          <a:p>
            <a:r>
              <a:rPr lang="en-US"/>
              <a:t>Click to edit Master title style</a:t>
            </a:r>
          </a:p>
        </p:txBody>
      </p:sp>
      <p:sp>
        <p:nvSpPr>
          <p:cNvPr id="4" name="Text Placeholder 3"/>
          <p:cNvSpPr>
            <a:spLocks noGrp="1"/>
          </p:cNvSpPr>
          <p:nvPr>
            <p:ph type="body" sz="quarter" idx="10"/>
          </p:nvPr>
        </p:nvSpPr>
        <p:spPr>
          <a:xfrm>
            <a:off x="586391" y="1434370"/>
            <a:ext cx="833990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Oval 5">
            <a:extLst>
              <a:ext uri="{FF2B5EF4-FFF2-40B4-BE49-F238E27FC236}">
                <a16:creationId xmlns:a16="http://schemas.microsoft.com/office/drawing/2014/main" id="{7DFECF3F-CD5D-4B9F-BF6A-E7331AB69A0D}"/>
              </a:ext>
            </a:extLst>
          </p:cNvPr>
          <p:cNvSpPr/>
          <p:nvPr/>
        </p:nvSpPr>
        <p:spPr bwMode="auto">
          <a:xfrm>
            <a:off x="8926290" y="2349000"/>
            <a:ext cx="2160000" cy="2160000"/>
          </a:xfrm>
          <a:prstGeom prst="ellipse">
            <a:avLst/>
          </a:prstGeom>
          <a:solidFill>
            <a:schemeClr val="bg1"/>
          </a:solidFill>
          <a:ln w="508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Picture Placeholder 4">
            <a:extLst>
              <a:ext uri="{FF2B5EF4-FFF2-40B4-BE49-F238E27FC236}">
                <a16:creationId xmlns:a16="http://schemas.microsoft.com/office/drawing/2014/main" id="{B931188A-7417-428C-A576-B4006D8BED3F}"/>
              </a:ext>
            </a:extLst>
          </p:cNvPr>
          <p:cNvSpPr>
            <a:spLocks noGrp="1"/>
          </p:cNvSpPr>
          <p:nvPr>
            <p:ph type="pic" sz="quarter" idx="11"/>
          </p:nvPr>
        </p:nvSpPr>
        <p:spPr>
          <a:xfrm>
            <a:off x="9310127" y="2709000"/>
            <a:ext cx="1440000" cy="1440000"/>
          </a:xfrm>
        </p:spPr>
        <p:txBody>
          <a:bodyPr>
            <a:normAutofit/>
          </a:bodyPr>
          <a:lstStyle>
            <a:lvl1pPr>
              <a:defRPr>
                <a:noFill/>
              </a:defRPr>
            </a:lvl1pPr>
          </a:lstStyle>
          <a:p>
            <a:r>
              <a:rPr lang="en-US"/>
              <a:t>Click icon to add picture</a:t>
            </a:r>
            <a:endParaRPr lang="en-AU" dirty="0"/>
          </a:p>
        </p:txBody>
      </p:sp>
    </p:spTree>
    <p:extLst>
      <p:ext uri="{BB962C8B-B14F-4D97-AF65-F5344CB8AC3E}">
        <p14:creationId xmlns:p14="http://schemas.microsoft.com/office/powerpoint/2010/main" val="3915265782"/>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1250">
                      <a:schemeClr val="tx1"/>
                    </a:gs>
                    <a:gs pos="100000">
                      <a:schemeClr val="tx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963C420D-07D4-4909-B94F-60D74F333EEB}"/>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4112575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quare photo medium blue">
    <p:bg>
      <p:bgPr>
        <a:solidFill>
          <a:srgbClr val="0070C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0">
                      <a:schemeClr val="tx1"/>
                    </a:gs>
                    <a:gs pos="100000">
                      <a:schemeClr val="tx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963C420D-07D4-4909-B94F-60D74F333EEB}"/>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939835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quare photo medium blue">
    <p:bg>
      <p:bgPr>
        <a:solidFill>
          <a:schemeClr val="bg1"/>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0">
                      <a:schemeClr val="tx1"/>
                    </a:gs>
                    <a:gs pos="100000">
                      <a:schemeClr val="tx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963C420D-07D4-4909-B94F-60D74F333EEB}"/>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3595727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1250">
                      <a:schemeClr val="tx1"/>
                    </a:gs>
                    <a:gs pos="100000">
                      <a:schemeClr val="tx1"/>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7" name="Picture 6">
            <a:extLst>
              <a:ext uri="{FF2B5EF4-FFF2-40B4-BE49-F238E27FC236}">
                <a16:creationId xmlns:a16="http://schemas.microsoft.com/office/drawing/2014/main" id="{D6C2B634-F2AD-47CC-BA53-7D7C1E665920}"/>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4204912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quare photo medium blue">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gradFill>
                  <a:gsLst>
                    <a:gs pos="1250">
                      <a:schemeClr val="tx1"/>
                    </a:gs>
                    <a:gs pos="100000">
                      <a:schemeClr val="tx1"/>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7" name="Picture 6">
            <a:extLst>
              <a:ext uri="{FF2B5EF4-FFF2-40B4-BE49-F238E27FC236}">
                <a16:creationId xmlns:a16="http://schemas.microsoft.com/office/drawing/2014/main" id="{D6C2B634-F2AD-47CC-BA53-7D7C1E665920}"/>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3279247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8" name="Picture 7">
            <a:extLst>
              <a:ext uri="{FF2B5EF4-FFF2-40B4-BE49-F238E27FC236}">
                <a16:creationId xmlns:a16="http://schemas.microsoft.com/office/drawing/2014/main" id="{385C7F86-3012-4CBC-BB16-A3F0CE7D7937}"/>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284007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848613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medium blue">
    <p:bg>
      <p:bgPr>
        <a:solidFill>
          <a:srgbClr val="0070C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417913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35718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32082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972971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38589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91" indent="0">
              <a:buFont typeface="Wingdings" panose="05000000000000000000" pitchFamily="2" charset="2"/>
              <a:buNone/>
              <a:defRPr sz="2000" b="0">
                <a:latin typeface="+mn-lt"/>
              </a:defRPr>
            </a:lvl2pPr>
            <a:lvl3pPr marL="450855" indent="0">
              <a:buFont typeface="Wingdings" panose="05000000000000000000" pitchFamily="2" charset="2"/>
              <a:buNone/>
              <a:tabLst/>
              <a:defRPr sz="1600" b="0">
                <a:latin typeface="+mn-lt"/>
              </a:defRPr>
            </a:lvl3pPr>
            <a:lvl4pPr marL="652470" indent="0">
              <a:buFont typeface="Wingdings" panose="05000000000000000000" pitchFamily="2" charset="2"/>
              <a:buNone/>
              <a:defRPr sz="1400" b="0">
                <a:latin typeface="+mn-lt"/>
              </a:defRPr>
            </a:lvl4pPr>
            <a:lvl5pPr marL="85408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91" indent="0">
              <a:buFont typeface="Wingdings" panose="05000000000000000000" pitchFamily="2" charset="2"/>
              <a:buNone/>
              <a:defRPr sz="2000" b="0">
                <a:latin typeface="+mn-lt"/>
              </a:defRPr>
            </a:lvl2pPr>
            <a:lvl3pPr marL="450855" indent="0">
              <a:buFont typeface="Wingdings" panose="05000000000000000000" pitchFamily="2" charset="2"/>
              <a:buNone/>
              <a:tabLst/>
              <a:defRPr sz="1600" b="0">
                <a:latin typeface="+mn-lt"/>
              </a:defRPr>
            </a:lvl3pPr>
            <a:lvl4pPr marL="652470" indent="0">
              <a:buFont typeface="Wingdings" panose="05000000000000000000" pitchFamily="2" charset="2"/>
              <a:buNone/>
              <a:defRPr sz="1400" b="0">
                <a:latin typeface="+mn-lt"/>
              </a:defRPr>
            </a:lvl4pPr>
            <a:lvl5pPr marL="85408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91015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1611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2" name="Text Box 3">
            <a:extLst>
              <a:ext uri="{FF2B5EF4-FFF2-40B4-BE49-F238E27FC236}">
                <a16:creationId xmlns:a16="http://schemas.microsoft.com/office/drawing/2014/main" id="{C1B6C978-37AE-4FD2-A510-57BCDA04200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lumMod val="50000"/>
                    <a:lumOff val="50000"/>
                  </a:schemeClr>
                </a:solidFill>
                <a:cs typeface="Segoe UI" pitchFamily="34" charset="0"/>
              </a:rPr>
              <a:t>©Microsoft Corporation									                                                                                                                                             Azure </a:t>
            </a:r>
          </a:p>
        </p:txBody>
      </p:sp>
    </p:spTree>
    <p:extLst>
      <p:ext uri="{BB962C8B-B14F-4D97-AF65-F5344CB8AC3E}">
        <p14:creationId xmlns:p14="http://schemas.microsoft.com/office/powerpoint/2010/main" val="4222703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56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991427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4466950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3556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5152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64836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018115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2"/>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5396921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1"/>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60018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1"/>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1"/>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1"/>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921384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80137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4"/>
            <a:ext cx="3481388" cy="307777"/>
          </a:xfrm>
        </p:spPr>
        <p:txBody>
          <a:bodyPr wrap="square">
            <a:spAutoFit/>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4201"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8141001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gradFill>
                  <a:gsLst>
                    <a:gs pos="1250">
                      <a:schemeClr val="tx1"/>
                    </a:gs>
                    <a:gs pos="100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3"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5805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4" y="3179701"/>
            <a:ext cx="3182621" cy="498598"/>
          </a:xfrm>
          <a:noFill/>
        </p:spPr>
        <p:txBody>
          <a:bodyPr vert="horz" wrap="square" lIns="0" tIns="0" rIns="0" bIns="0" rtlCol="0" anchor="ctr" anchorCtr="0">
            <a:spAutoFit/>
          </a:bodyPr>
          <a:lstStyle>
            <a:lvl1pPr>
              <a:defRPr lang="en-US" dirty="0">
                <a:gradFill>
                  <a:gsLst>
                    <a:gs pos="1250">
                      <a:schemeClr val="tx1"/>
                    </a:gs>
                    <a:gs pos="100000">
                      <a:schemeClr val="tx1"/>
                    </a:gs>
                  </a:gsLst>
                  <a:lin ang="5400000" scaled="0"/>
                </a:gra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4" y="3213558"/>
            <a:ext cx="6599409" cy="430887"/>
          </a:xfrm>
        </p:spPr>
        <p:txBody>
          <a:bodyPr anchor="ctr" anchorCtr="0"/>
          <a:lstStyle>
            <a:lvl1pPr marL="0" indent="0">
              <a:spcAft>
                <a:spcPts val="1200"/>
              </a:spcAft>
              <a:buNone/>
              <a:defRPr sz="2800"/>
            </a:lvl1pPr>
            <a:lvl2pPr marL="228603" indent="0">
              <a:buNone/>
              <a:defRPr/>
            </a:lvl2pPr>
          </a:lstStyle>
          <a:p>
            <a:pPr lvl="0"/>
            <a:r>
              <a:rPr lang="en-US"/>
              <a:t>Edit Master text styles</a:t>
            </a:r>
          </a:p>
        </p:txBody>
      </p:sp>
    </p:spTree>
    <p:extLst>
      <p:ext uri="{BB962C8B-B14F-4D97-AF65-F5344CB8AC3E}">
        <p14:creationId xmlns:p14="http://schemas.microsoft.com/office/powerpoint/2010/main" val="2178607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4" y="3179701"/>
            <a:ext cx="3182621" cy="498598"/>
          </a:xfrm>
          <a:noFill/>
        </p:spPr>
        <p:txBody>
          <a:bodyPr vert="horz" wrap="square" lIns="0" tIns="0" rIns="0" bIns="0" rtlCol="0" anchor="ctr" anchorCtr="0">
            <a:spAutoFit/>
          </a:bodyPr>
          <a:lstStyle>
            <a:lvl1pPr>
              <a:defRPr lang="en-US" dirty="0">
                <a:gradFill>
                  <a:gsLst>
                    <a:gs pos="1250">
                      <a:schemeClr val="tx1"/>
                    </a:gs>
                    <a:gs pos="100000">
                      <a:schemeClr val="tx1"/>
                    </a:gs>
                  </a:gsLst>
                  <a:lin ang="5400000" scaled="0"/>
                </a:gra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4" y="3213558"/>
            <a:ext cx="6599409" cy="430887"/>
          </a:xfrm>
        </p:spPr>
        <p:txBody>
          <a:bodyPr anchor="ctr" anchorCtr="0">
            <a:spAutoFit/>
          </a:bodyPr>
          <a:lstStyle>
            <a:lvl1pPr marL="0" indent="0">
              <a:spcAft>
                <a:spcPts val="1200"/>
              </a:spcAft>
              <a:buNone/>
              <a:defRPr sz="2800"/>
            </a:lvl1pPr>
            <a:lvl2pPr marL="228603"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0192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60369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medium blu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85776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aphicFrame>
        <p:nvGraphicFramePr>
          <p:cNvPr id="3" name="Object 2" hidden="1">
            <a:extLst>
              <a:ext uri="{FF2B5EF4-FFF2-40B4-BE49-F238E27FC236}">
                <a16:creationId xmlns:a16="http://schemas.microsoft.com/office/drawing/2014/main" id="{D805081E-FB4A-444F-BACB-C65A988BA6A8}"/>
              </a:ext>
            </a:extLst>
          </p:cNvPr>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a:extLst>
                          <a:ext uri="{FF2B5EF4-FFF2-40B4-BE49-F238E27FC236}">
                            <a16:creationId xmlns:a16="http://schemas.microsoft.com/office/drawing/2014/main" id="{D805081E-FB4A-444F-BACB-C65A988BA6A8}"/>
                          </a:ext>
                        </a:extLst>
                      </p:cNvPr>
                      <p:cNvPicPr/>
                      <p:nvPr/>
                    </p:nvPicPr>
                    <p:blipFill>
                      <a:blip r:embed="rId4"/>
                      <a:stretch>
                        <a:fillRect/>
                      </a:stretch>
                    </p:blipFill>
                    <p:spPr>
                      <a:xfrm>
                        <a:off x="1558" y="1559"/>
                        <a:ext cx="1556" cy="1556"/>
                      </a:xfrm>
                      <a:prstGeom prst="rect">
                        <a:avLst/>
                      </a:prstGeom>
                    </p:spPr>
                  </p:pic>
                </p:oleObj>
              </mc:Fallback>
            </mc:AlternateContent>
          </a:graphicData>
        </a:graphic>
      </p:graphicFrame>
    </p:spTree>
    <p:extLst>
      <p:ext uri="{BB962C8B-B14F-4D97-AF65-F5344CB8AC3E}">
        <p14:creationId xmlns:p14="http://schemas.microsoft.com/office/powerpoint/2010/main" val="3549139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51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779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medium blu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0302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8225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92714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00206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7942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78693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0C0"/>
        </a:solidFill>
        <a:effectLst/>
      </p:bgPr>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797712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010478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467122"/>
      </p:ext>
    </p:extLst>
  </p:cSld>
  <p:clrMapOvr>
    <a:masterClrMapping/>
  </p:clrMapOvr>
  <p:transition>
    <p:fade/>
  </p:transition>
  <p:extLst>
    <p:ext uri="{DCECCB84-F9BA-43D5-87BE-67443E8EF086}">
      <p15:sldGuideLst xmlns:p15="http://schemas.microsoft.com/office/powerpoint/2012/main">
        <p15:guide id="1" orient="horz" pos="768">
          <p15:clr>
            <a:srgbClr val="FBAE40"/>
          </p15:clr>
        </p15:guide>
        <p15:guide id="2" orient="horz" pos="355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6985604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589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01940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56763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29592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803573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67096BD6-3DC6-4BDA-B76F-1AF3DCB7FD7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lumMod val="50000"/>
                    <a:lumOff val="50000"/>
                  </a:schemeClr>
                </a:solidFill>
                <a:cs typeface="Segoe UI" pitchFamily="34" charset="0"/>
              </a:rPr>
              <a:t>©Microsoft Corporation									                                                                                                                                             Azure </a:t>
            </a:r>
          </a:p>
        </p:txBody>
      </p:sp>
    </p:spTree>
    <p:extLst>
      <p:ext uri="{BB962C8B-B14F-4D97-AF65-F5344CB8AC3E}">
        <p14:creationId xmlns:p14="http://schemas.microsoft.com/office/powerpoint/2010/main" val="356299709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9440" y="2913426"/>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479693" y="0"/>
            <a:ext cx="6712307" cy="6858000"/>
          </a:xfrm>
          <a:prstGeom prst="rect">
            <a:avLst/>
          </a:prstGeom>
        </p:spPr>
      </p:pic>
    </p:spTree>
    <p:extLst>
      <p:ext uri="{BB962C8B-B14F-4D97-AF65-F5344CB8AC3E}">
        <p14:creationId xmlns:p14="http://schemas.microsoft.com/office/powerpoint/2010/main" val="1475104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58211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4779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Box 3">
            <a:extLst>
              <a:ext uri="{FF2B5EF4-FFF2-40B4-BE49-F238E27FC236}">
                <a16:creationId xmlns:a16="http://schemas.microsoft.com/office/drawing/2014/main" id="{49DD7F23-8922-4E99-BB3A-11DB78E1382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lumMod val="50000"/>
                    <a:lumOff val="50000"/>
                  </a:schemeClr>
                </a:solidFill>
                <a:cs typeface="Segoe UI" pitchFamily="34" charset="0"/>
              </a:rPr>
              <a:t>©Microsoft Corporation									                                                                                                                                             Azure </a:t>
            </a:r>
          </a:p>
        </p:txBody>
      </p:sp>
    </p:spTree>
    <p:extLst>
      <p:ext uri="{BB962C8B-B14F-4D97-AF65-F5344CB8AC3E}">
        <p14:creationId xmlns:p14="http://schemas.microsoft.com/office/powerpoint/2010/main" val="19136916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slideLayout" Target="../slideLayouts/slideLayout89.xml"/><Relationship Id="rId50" Type="http://schemas.openxmlformats.org/officeDocument/2006/relationships/slideLayout" Target="../slideLayouts/slideLayout92.xml"/><Relationship Id="rId55" Type="http://schemas.openxmlformats.org/officeDocument/2006/relationships/image" Target="../media/image1.emf"/><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slideLayout" Target="../slideLayouts/slideLayout87.xml"/><Relationship Id="rId53" Type="http://schemas.openxmlformats.org/officeDocument/2006/relationships/slideLayout" Target="../slideLayouts/slideLayout9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slideLayout" Target="../slideLayouts/slideLayout86.xml"/><Relationship Id="rId52" Type="http://schemas.openxmlformats.org/officeDocument/2006/relationships/slideLayout" Target="../slideLayouts/slideLayout94.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slideLayout" Target="../slideLayouts/slideLayout90.xml"/><Relationship Id="rId8" Type="http://schemas.openxmlformats.org/officeDocument/2006/relationships/slideLayout" Target="../slideLayouts/slideLayout50.xml"/><Relationship Id="rId51" Type="http://schemas.openxmlformats.org/officeDocument/2006/relationships/slideLayout" Target="../slideLayouts/slideLayout93.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slideLayout" Target="../slideLayouts/slideLayout88.xml"/><Relationship Id="rId20" Type="http://schemas.openxmlformats.org/officeDocument/2006/relationships/slideLayout" Target="../slideLayouts/slideLayout62.xml"/><Relationship Id="rId41" Type="http://schemas.openxmlformats.org/officeDocument/2006/relationships/slideLayout" Target="../slideLayouts/slideLayout83.xml"/><Relationship Id="rId54" Type="http://schemas.openxmlformats.org/officeDocument/2006/relationships/theme" Target="../theme/theme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slideLayout" Target="../slideLayouts/slideLayout9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image" Target="../media/image1.emf"/><Relationship Id="rId21" Type="http://schemas.openxmlformats.org/officeDocument/2006/relationships/slideLayout" Target="../slideLayouts/slideLayout116.xml"/><Relationship Id="rId34" Type="http://schemas.openxmlformats.org/officeDocument/2006/relationships/theme" Target="../theme/theme3.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image" Target="../media/image33.emf"/><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oleObject" Target="../embeddings/oleObject2.bin"/><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tags" Target="../tags/tag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tags" Target="../tags/tag2.xml"/><Relationship Id="rId8" Type="http://schemas.openxmlformats.org/officeDocument/2006/relationships/slideLayout" Target="../slideLayouts/slideLayout103.xml"/><Relationship Id="rId3"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4"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Title Placeholder 1">
            <a:extLst>
              <a:ext uri="{FF2B5EF4-FFF2-40B4-BE49-F238E27FC236}">
                <a16:creationId xmlns:a16="http://schemas.microsoft.com/office/drawing/2014/main" id="{6E8F17A1-0A77-45AA-9C32-AD61329247CB}"/>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5EFB7A0C-68C8-48C5-85D6-C5B067533603}"/>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NEW Brand Colors 2018">
            <a:extLst>
              <a:ext uri="{FF2B5EF4-FFF2-40B4-BE49-F238E27FC236}">
                <a16:creationId xmlns:a16="http://schemas.microsoft.com/office/drawing/2014/main" id="{AAA2BDA4-DA39-4C07-8DDA-4B18A271158A}"/>
              </a:ext>
            </a:extLst>
          </p:cNvPr>
          <p:cNvPicPr>
            <a:picLocks noChangeAspect="1"/>
          </p:cNvPicPr>
          <p:nvPr userDrawn="1"/>
        </p:nvPicPr>
        <p:blipFill>
          <a:blip r:embed="rId45"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52" name="GRID" hidden="1">
            <a:extLst>
              <a:ext uri="{FF2B5EF4-FFF2-40B4-BE49-F238E27FC236}">
                <a16:creationId xmlns:a16="http://schemas.microsoft.com/office/drawing/2014/main" id="{D807DD47-9764-49C1-86A8-493142893725}"/>
              </a:ext>
            </a:extLst>
          </p:cNvPr>
          <p:cNvGrpSpPr/>
          <p:nvPr userDrawn="1"/>
        </p:nvGrpSpPr>
        <p:grpSpPr>
          <a:xfrm>
            <a:off x="0" y="0"/>
            <a:ext cx="12192000" cy="6858000"/>
            <a:chOff x="0" y="0"/>
            <a:chExt cx="12192000" cy="6858000"/>
          </a:xfrm>
        </p:grpSpPr>
        <p:cxnSp>
          <p:nvCxnSpPr>
            <p:cNvPr id="53" name="Straight Connector 52">
              <a:extLst>
                <a:ext uri="{FF2B5EF4-FFF2-40B4-BE49-F238E27FC236}">
                  <a16:creationId xmlns:a16="http://schemas.microsoft.com/office/drawing/2014/main" id="{6F4FB5F1-A4EC-4FBE-B89C-1FEC6F71844A}"/>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2A97A68-819A-4AAB-84A2-B1F0B23ECB3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5B26194-D587-433A-9FB9-7A9B543F15B0}"/>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1392EBE-EDB1-4F4C-BBB0-E333EC64ED20}"/>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565509F-8FEC-4E7D-8F7E-300D238E257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D2A3596-CAFD-479B-82D6-EC4028316F57}"/>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42C4FFF-396D-45DE-88C6-74DA952CE97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8F9D931-1192-47E2-AE56-2C69A812BB0E}"/>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7935B1B-7DD9-4DE6-BBDF-8DF8DF5D0AD7}"/>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67C2CAA-3B32-42EE-B548-683B5842DBB4}"/>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750EB50-880D-48EC-B433-94A2BC279C35}"/>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978A722-5AF2-4A53-B0D1-9BCE598DC8CF}"/>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AF679C-4CA9-4E0D-BAE4-6DB166ABB29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7DDF2D5-0117-474B-A89D-CE6DB9ECED5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737FAE2-8CF9-4C4B-A91D-1E53AA089D6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D0FCE45-FC50-44EB-9007-F1136DFD1C35}"/>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4A87CE6-6E15-4146-A20F-744CE0DBF5C0}"/>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E49568D-6F7D-44C9-B03F-7BF06FC77F4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02D8D04-C822-46F2-8B69-5AC0492B232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911218E-ED9C-4A9F-9BF5-884152C2BA10}"/>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21AC5A7-DE76-4498-A9C2-8E73115BBAF4}"/>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53C3509-3F10-49BC-9FF3-768A2AF3A4CF}"/>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D1FF414-42E4-4221-90C0-DA0BB55E4A65}"/>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19432A2-ADB8-4C2E-809A-13B7BEF32D61}"/>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0E1B9E9-32D6-4ADD-8A1C-326FA8045827}"/>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1FD52E7-5789-448E-8AF4-5D49A7775FA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CECA8B21-1E78-4EF5-B735-EEE2065C614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9CDA188-175D-42BC-8CE4-72B4A08B11A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7CF6DC9-17C9-4558-9D1D-41CBFC3BF27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9933FF9-ACBE-4379-A22A-77F2F5FD8022}"/>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75DAF8-C38F-41E8-ADD9-FDBDBCDC5E9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F56AAB4-D79F-478C-9BA4-C0F6726F6A0E}"/>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6AECEDF-5F01-4BC0-8E22-DB969F0B059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90BC155-6AD7-47F2-8B73-10AF69376E0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 name=".64 square" hidden="1">
            <a:extLst>
              <a:ext uri="{FF2B5EF4-FFF2-40B4-BE49-F238E27FC236}">
                <a16:creationId xmlns:a16="http://schemas.microsoft.com/office/drawing/2014/main" id="{EEA34C02-FA79-4A42-A39D-BF7EFB9C2505}"/>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32 square" hidden="1">
            <a:extLst>
              <a:ext uri="{FF2B5EF4-FFF2-40B4-BE49-F238E27FC236}">
                <a16:creationId xmlns:a16="http://schemas.microsoft.com/office/drawing/2014/main" id="{164295E5-FAA6-42B1-AE8B-082051C3020D}"/>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4101512"/>
      </p:ext>
    </p:extLst>
  </p:cSld>
  <p:clrMap bg1="lt1" tx1="dk1" bg2="lt2" tx2="dk2" accent1="accent1" accent2="accent2" accent3="accent3" accent4="accent4" accent5="accent5" accent6="accent6" hlink="hlink" folHlink="folHlink"/>
  <p:sldLayoutIdLst>
    <p:sldLayoutId id="2147484953" r:id="rId1"/>
    <p:sldLayoutId id="2147484954" r:id="rId2"/>
    <p:sldLayoutId id="2147484957" r:id="rId3"/>
    <p:sldLayoutId id="2147484958" r:id="rId4"/>
    <p:sldLayoutId id="2147484959" r:id="rId5"/>
    <p:sldLayoutId id="2147484960" r:id="rId6"/>
    <p:sldLayoutId id="2147484961" r:id="rId7"/>
    <p:sldLayoutId id="2147484962" r:id="rId8"/>
    <p:sldLayoutId id="2147484963" r:id="rId9"/>
    <p:sldLayoutId id="2147484964" r:id="rId10"/>
    <p:sldLayoutId id="2147484965" r:id="rId11"/>
    <p:sldLayoutId id="2147484966" r:id="rId12"/>
    <p:sldLayoutId id="2147484967" r:id="rId13"/>
    <p:sldLayoutId id="2147484968" r:id="rId14"/>
    <p:sldLayoutId id="2147484969" r:id="rId15"/>
    <p:sldLayoutId id="2147484970" r:id="rId16"/>
    <p:sldLayoutId id="2147484971" r:id="rId17"/>
    <p:sldLayoutId id="2147484972" r:id="rId18"/>
    <p:sldLayoutId id="2147484973" r:id="rId19"/>
    <p:sldLayoutId id="2147484974" r:id="rId20"/>
    <p:sldLayoutId id="2147484975" r:id="rId21"/>
    <p:sldLayoutId id="2147484976" r:id="rId22"/>
    <p:sldLayoutId id="2147484977" r:id="rId23"/>
    <p:sldLayoutId id="2147484978" r:id="rId24"/>
    <p:sldLayoutId id="2147484979" r:id="rId25"/>
    <p:sldLayoutId id="2147484980" r:id="rId26"/>
    <p:sldLayoutId id="2147484981" r:id="rId27"/>
    <p:sldLayoutId id="2147484983" r:id="rId28"/>
    <p:sldLayoutId id="2147484984" r:id="rId29"/>
    <p:sldLayoutId id="2147484985" r:id="rId30"/>
    <p:sldLayoutId id="2147484986" r:id="rId31"/>
    <p:sldLayoutId id="2147484987" r:id="rId32"/>
    <p:sldLayoutId id="2147484988" r:id="rId33"/>
    <p:sldLayoutId id="2147484989" r:id="rId34"/>
    <p:sldLayoutId id="2147484990" r:id="rId35"/>
    <p:sldLayoutId id="2147484991" r:id="rId36"/>
    <p:sldLayoutId id="2147484992" r:id="rId37"/>
    <p:sldLayoutId id="2147484993" r:id="rId38"/>
    <p:sldLayoutId id="2147484994" r:id="rId39"/>
    <p:sldLayoutId id="2147484995" r:id="rId40"/>
    <p:sldLayoutId id="2147484996" r:id="rId41"/>
    <p:sldLayoutId id="2147485085"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55" cstate="screen">
            <a:extLst>
              <a:ext uri="{28A0092B-C50C-407E-A947-70E740481C1C}">
                <a14:useLocalDpi xmlns:a14="http://schemas.microsoft.com/office/drawing/2010/main"/>
              </a:ext>
            </a:extLst>
          </a:blip>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633820066"/>
      </p:ext>
    </p:extLst>
  </p:cSld>
  <p:clrMap bg1="dk1" tx1="lt1" bg2="dk2" tx2="lt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 id="2147485009" r:id="rId12"/>
    <p:sldLayoutId id="2147485010" r:id="rId13"/>
    <p:sldLayoutId id="2147485011" r:id="rId14"/>
    <p:sldLayoutId id="2147485012" r:id="rId15"/>
    <p:sldLayoutId id="2147485013" r:id="rId16"/>
    <p:sldLayoutId id="2147485014" r:id="rId17"/>
    <p:sldLayoutId id="2147485015" r:id="rId18"/>
    <p:sldLayoutId id="2147485016" r:id="rId19"/>
    <p:sldLayoutId id="2147485017" r:id="rId20"/>
    <p:sldLayoutId id="2147485018" r:id="rId21"/>
    <p:sldLayoutId id="2147485019" r:id="rId22"/>
    <p:sldLayoutId id="2147485020" r:id="rId23"/>
    <p:sldLayoutId id="2147485021" r:id="rId24"/>
    <p:sldLayoutId id="2147485022" r:id="rId25"/>
    <p:sldLayoutId id="2147485023" r:id="rId26"/>
    <p:sldLayoutId id="2147485024" r:id="rId27"/>
    <p:sldLayoutId id="2147485025" r:id="rId28"/>
    <p:sldLayoutId id="2147485026" r:id="rId29"/>
    <p:sldLayoutId id="2147485027" r:id="rId30"/>
    <p:sldLayoutId id="2147485028" r:id="rId31"/>
    <p:sldLayoutId id="2147485029" r:id="rId32"/>
    <p:sldLayoutId id="2147485030" r:id="rId33"/>
    <p:sldLayoutId id="2147485031" r:id="rId34"/>
    <p:sldLayoutId id="2147485032" r:id="rId35"/>
    <p:sldLayoutId id="2147485033" r:id="rId36"/>
    <p:sldLayoutId id="2147485034" r:id="rId37"/>
    <p:sldLayoutId id="2147485035" r:id="rId38"/>
    <p:sldLayoutId id="2147485036" r:id="rId39"/>
    <p:sldLayoutId id="2147485037" r:id="rId40"/>
    <p:sldLayoutId id="2147485038" r:id="rId41"/>
    <p:sldLayoutId id="2147485039" r:id="rId42"/>
    <p:sldLayoutId id="2147485040" r:id="rId43"/>
    <p:sldLayoutId id="2147485041" r:id="rId44"/>
    <p:sldLayoutId id="2147485042" r:id="rId45"/>
    <p:sldLayoutId id="2147485043" r:id="rId46"/>
    <p:sldLayoutId id="2147485044" r:id="rId47"/>
    <p:sldLayoutId id="2147485045" r:id="rId48"/>
    <p:sldLayoutId id="2147485046" r:id="rId49"/>
    <p:sldLayoutId id="2147485047" r:id="rId50"/>
    <p:sldLayoutId id="2147485048" r:id="rId51"/>
    <p:sldLayoutId id="2147485049" r:id="rId52"/>
    <p:sldLayoutId id="2147485050" r:id="rId53"/>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F13DFD-659E-48F0-8398-9921BD9E19A4}"/>
              </a:ext>
            </a:extLst>
          </p:cNvPr>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60" imgH="360" progId="TCLayout.ActiveDocument.1">
                  <p:embed/>
                </p:oleObj>
              </mc:Choice>
              <mc:Fallback>
                <p:oleObj name="think-cell Slide" r:id="rId37" imgW="360" imgH="360" progId="TCLayout.ActiveDocument.1">
                  <p:embed/>
                  <p:pic>
                    <p:nvPicPr>
                      <p:cNvPr id="6" name="Object 5" hidden="1">
                        <a:extLst>
                          <a:ext uri="{FF2B5EF4-FFF2-40B4-BE49-F238E27FC236}">
                            <a16:creationId xmlns:a16="http://schemas.microsoft.com/office/drawing/2014/main" id="{ACF13DFD-659E-48F0-8398-9921BD9E19A4}"/>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0452AC-6D11-497C-9763-C74DCA0A1043}"/>
              </a:ext>
            </a:extLst>
          </p:cNvPr>
          <p:cNvSpPr/>
          <p:nvPr userDrawn="1">
            <p:custDataLst>
              <p:tags r:id="rId36"/>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9"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724834988"/>
      </p:ext>
    </p:extLst>
  </p:cSld>
  <p:clrMap bg1="dk1" tx1="lt1" bg2="dk2" tx2="lt2" accent1="accent1" accent2="accent2" accent3="accent3" accent4="accent4" accent5="accent5" accent6="accent6" hlink="hlink" folHlink="folHlink"/>
  <p:sldLayoutIdLst>
    <p:sldLayoutId id="2147485052" r:id="rId1"/>
    <p:sldLayoutId id="2147485053" r:id="rId2"/>
    <p:sldLayoutId id="2147485054" r:id="rId3"/>
    <p:sldLayoutId id="2147485055" r:id="rId4"/>
    <p:sldLayoutId id="2147485056" r:id="rId5"/>
    <p:sldLayoutId id="2147485057" r:id="rId6"/>
    <p:sldLayoutId id="2147485058" r:id="rId7"/>
    <p:sldLayoutId id="2147485059" r:id="rId8"/>
    <p:sldLayoutId id="2147485060" r:id="rId9"/>
    <p:sldLayoutId id="2147485061" r:id="rId10"/>
    <p:sldLayoutId id="2147485062" r:id="rId11"/>
    <p:sldLayoutId id="2147485063" r:id="rId12"/>
    <p:sldLayoutId id="2147485064" r:id="rId13"/>
    <p:sldLayoutId id="2147485065" r:id="rId14"/>
    <p:sldLayoutId id="2147485066" r:id="rId15"/>
    <p:sldLayoutId id="2147485067" r:id="rId16"/>
    <p:sldLayoutId id="2147485068" r:id="rId17"/>
    <p:sldLayoutId id="2147485069" r:id="rId18"/>
    <p:sldLayoutId id="2147485070" r:id="rId19"/>
    <p:sldLayoutId id="2147485071" r:id="rId20"/>
    <p:sldLayoutId id="2147485072" r:id="rId21"/>
    <p:sldLayoutId id="2147485073" r:id="rId22"/>
    <p:sldLayoutId id="2147485074" r:id="rId23"/>
    <p:sldLayoutId id="2147485075" r:id="rId24"/>
    <p:sldLayoutId id="2147485076" r:id="rId25"/>
    <p:sldLayoutId id="2147485077" r:id="rId26"/>
    <p:sldLayoutId id="2147485078" r:id="rId27"/>
    <p:sldLayoutId id="2147485079" r:id="rId28"/>
    <p:sldLayoutId id="2147485080" r:id="rId29"/>
    <p:sldLayoutId id="2147485081" r:id="rId30"/>
    <p:sldLayoutId id="2147485082" r:id="rId31"/>
    <p:sldLayoutId id="2147485083" r:id="rId32"/>
    <p:sldLayoutId id="2147485084"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553">
          <p15:clr>
            <a:srgbClr val="F26B43"/>
          </p15:clr>
        </p15:guide>
        <p15:guide id="32" orient="horz" pos="76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learn.microsoft.com/en-us/azure/aks/private-clusters?tabs=azure-portal"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hyperlink" Target="https://learn.microsoft.com/en-us/azure/aks/concepts-security#azure-network-security-groups"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azure/aks/internal-lb?tabs=set-service-annotations"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hyperlink" Target="https://learn.microsoft.com/en-us/azure/aks/use-network-policies"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hyperlink" Target="https://learn.microsoft.com/en-us/azure/aks/private-clusters?tabs=azure-portal#disable-a-public-fqdn-on-a-new-aks-cluster"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hyperlink" Target="https://learn.microsoft.com/en-us/azure/defender-for-cloud/defender-for-containers-enable?tabs=aks-deploy-portal%2Ck8s-deploy-asc%2Ck8s-verify-asc%2Ck8s-remove-arc%2Caks-removeprofile-api&amp;pivots=defender-for-container-aks"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18.xml.rels><?xml version="1.0" encoding="UTF-8" standalone="yes"?>
<Relationships xmlns="http://schemas.openxmlformats.org/package/2006/relationships"><Relationship Id="rId3" Type="http://schemas.openxmlformats.org/officeDocument/2006/relationships/hyperlink" Target="https://learn.microsoft.com/en-us/azure/governance/policy/concepts/policy-for-kubernetes"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azure/aks/use-kms-etcd-encryption"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hyperlink" Target="https://learn.microsoft.com/en-us/azure/aks/concepts-identity"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hyperlink" Target="https://learn.microsoft.com/en-us/azure/aks/enable-authentication-microsoft-entra-id"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en-us/azure/aks/workload-identity-overview?tabs=dotnet"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hyperlink" Target="https://learn.microsoft.com/en-us/azure/aks/learn/tutorial-kubernetes-workload-identity"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azure/aks/use-azure-ad-pod-identity"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hyperlink" Target="https://learn.microsoft.com/en-us/azure/aks/use-managed-identity"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azure/aks/manage-local-accounts-managed-azure-ad" TargetMode="External"/><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hyperlink" Target="https://learn.microsoft.com/en-Us/azure/azure-monitor/containers/container-insights-enable-aks?tabs=azure-cli"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hyperlink" Target="https://learn.microsoft.com/en-us/azure/aks/monitor-aks"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hyperlink" Target="https://learn.microsoft.com/en-us/azure/aks/availability-zones" TargetMode="External"/><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hyperlink" Target="https://learn.microsoft.com/en-us/azure/aks/free-standard-pricing-tiers" TargetMode="External"/><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hyperlink" Target="https://learn.microsoft.com/en-us/azure/aks/supported-kubernetes-versions?tabs=azure-cli" TargetMode="External"/><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31.xml.rels><?xml version="1.0" encoding="UTF-8" standalone="yes"?>
<Relationships xmlns="http://schemas.openxmlformats.org/package/2006/relationships"><Relationship Id="rId3" Type="http://schemas.openxmlformats.org/officeDocument/2006/relationships/hyperlink" Target="https://learn.microsoft.com/en-us/azure/aks/use-system-pools?tabs=azure-cli"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3" Type="http://schemas.openxmlformats.org/officeDocument/2006/relationships/hyperlink" Target="https://learn.microsoft.com/en-us/azure/aks/azure-cni-overlay?tabs=kubectl"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62.png"/></Relationships>
</file>

<file path=ppt/slides/_rels/slide33.xml.rels><?xml version="1.0" encoding="UTF-8" standalone="yes"?>
<Relationships xmlns="http://schemas.openxmlformats.org/package/2006/relationships"><Relationship Id="rId3" Type="http://schemas.openxmlformats.org/officeDocument/2006/relationships/hyperlink" Target="https://learn.microsoft.com/en-us/azure/aks/cluster-configuration"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63.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hyperlink" Target="https://www.globenewswire.com/en/news-release/2023/03/06/2621358/0/en/Latest-Global-Kubernetes-Market-Size-Share-Worth-USD-7-8-Billion-by-2030-at-an-23-40-CAGR-Markets-N-Research-Share-Trends-Cap-Adoption-Forecast-Segmentation-Growth-Value.htm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hyperlink" Target="https://humalect.com/docs/cluster-overview" TargetMode="External"/><Relationship Id="rId5" Type="http://schemas.openxmlformats.org/officeDocument/2006/relationships/hyperlink" Target="https://github.com/kubernetes" TargetMode="External"/><Relationship Id="rId4" Type="http://schemas.openxmlformats.org/officeDocument/2006/relationships/hyperlink" Target="https://www.oracle.com/in/cloud/cloud-native/container-engine-kubernetes/what-is-kubernetes/"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redhat.com/en/resources/kubernetes-adoption-security-market-trends-2021-overview" TargetMode="External"/><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hyperlink" Target="https://learn.microsoft.com/en-us/azure/well-architected/service-guides/azure-kubernetes-service?toc=%2Fazure%2Faks%2Ftoc.json&amp;bc=%2Fazure%2Faks%2Fbreadcrumb%2Ftoc.json" TargetMode="External"/><Relationship Id="rId4" Type="http://schemas.openxmlformats.org/officeDocument/2006/relationships/hyperlink" Target="https://learn.microsoft.com/en-us/azure/aks/best-practice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7765C3-EA80-439B-AFCE-8069D2A6F179}"/>
              </a:ext>
            </a:extLst>
          </p:cNvPr>
          <p:cNvSpPr>
            <a:spLocks noGrp="1"/>
          </p:cNvSpPr>
          <p:nvPr>
            <p:ph type="title"/>
          </p:nvPr>
        </p:nvSpPr>
        <p:spPr>
          <a:xfrm>
            <a:off x="584200" y="1845733"/>
            <a:ext cx="5083629" cy="1688043"/>
          </a:xfrm>
        </p:spPr>
        <p:txBody>
          <a:bodyPr/>
          <a:lstStyle/>
          <a:p>
            <a:r>
              <a:rPr lang="en-AU" dirty="0"/>
              <a:t>AKS Well-Architected Assessment</a:t>
            </a:r>
          </a:p>
        </p:txBody>
      </p:sp>
      <p:sp>
        <p:nvSpPr>
          <p:cNvPr id="13" name="Text Placeholder 12">
            <a:extLst>
              <a:ext uri="{FF2B5EF4-FFF2-40B4-BE49-F238E27FC236}">
                <a16:creationId xmlns:a16="http://schemas.microsoft.com/office/drawing/2014/main" id="{6D405758-EBB7-4594-9A20-641FA657B083}"/>
              </a:ext>
            </a:extLst>
          </p:cNvPr>
          <p:cNvSpPr>
            <a:spLocks noGrp="1"/>
          </p:cNvSpPr>
          <p:nvPr>
            <p:ph type="body" sz="quarter" idx="21"/>
          </p:nvPr>
        </p:nvSpPr>
        <p:spPr>
          <a:xfrm>
            <a:off x="584200" y="4047433"/>
            <a:ext cx="5940000" cy="448367"/>
          </a:xfrm>
        </p:spPr>
        <p:txBody>
          <a:bodyPr/>
          <a:lstStyle/>
          <a:p>
            <a:endParaRPr lang="en-AU" dirty="0"/>
          </a:p>
        </p:txBody>
      </p:sp>
      <p:sp>
        <p:nvSpPr>
          <p:cNvPr id="11" name="Text Placeholder 10">
            <a:extLst>
              <a:ext uri="{FF2B5EF4-FFF2-40B4-BE49-F238E27FC236}">
                <a16:creationId xmlns:a16="http://schemas.microsoft.com/office/drawing/2014/main" id="{4998EC60-7176-4F23-9ACA-8B6954D4F828}"/>
              </a:ext>
            </a:extLst>
          </p:cNvPr>
          <p:cNvSpPr>
            <a:spLocks noGrp="1"/>
          </p:cNvSpPr>
          <p:nvPr>
            <p:ph type="body" sz="quarter" idx="15"/>
          </p:nvPr>
        </p:nvSpPr>
        <p:spPr>
          <a:xfrm>
            <a:off x="583764" y="4465783"/>
            <a:ext cx="5940000" cy="307777"/>
          </a:xfrm>
        </p:spPr>
        <p:txBody>
          <a:bodyPr/>
          <a:lstStyle/>
          <a:p>
            <a:r>
              <a:rPr lang="en-AU" dirty="0"/>
              <a:t>&lt;customer name&gt;</a:t>
            </a:r>
          </a:p>
        </p:txBody>
      </p:sp>
      <p:sp>
        <p:nvSpPr>
          <p:cNvPr id="15" name="Text Placeholder 14">
            <a:extLst>
              <a:ext uri="{FF2B5EF4-FFF2-40B4-BE49-F238E27FC236}">
                <a16:creationId xmlns:a16="http://schemas.microsoft.com/office/drawing/2014/main" id="{2164DFB4-D1E1-42D9-8282-0551D54D89D1}"/>
              </a:ext>
            </a:extLst>
          </p:cNvPr>
          <p:cNvSpPr>
            <a:spLocks noGrp="1"/>
          </p:cNvSpPr>
          <p:nvPr>
            <p:ph type="body" sz="quarter" idx="23"/>
          </p:nvPr>
        </p:nvSpPr>
        <p:spPr>
          <a:xfrm>
            <a:off x="583764" y="5048943"/>
            <a:ext cx="5940000" cy="356839"/>
          </a:xfrm>
        </p:spPr>
        <p:txBody>
          <a:bodyPr/>
          <a:lstStyle/>
          <a:p>
            <a:endParaRPr lang="en-AU" dirty="0"/>
          </a:p>
        </p:txBody>
      </p:sp>
      <p:sp>
        <p:nvSpPr>
          <p:cNvPr id="16" name="Text Placeholder 15">
            <a:extLst>
              <a:ext uri="{FF2B5EF4-FFF2-40B4-BE49-F238E27FC236}">
                <a16:creationId xmlns:a16="http://schemas.microsoft.com/office/drawing/2014/main" id="{6F76C6F6-853D-4588-88AB-182B1C4458BA}"/>
              </a:ext>
            </a:extLst>
          </p:cNvPr>
          <p:cNvSpPr>
            <a:spLocks noGrp="1"/>
          </p:cNvSpPr>
          <p:nvPr>
            <p:ph type="body" sz="quarter" idx="24"/>
          </p:nvPr>
        </p:nvSpPr>
        <p:spPr>
          <a:xfrm>
            <a:off x="583764" y="5384566"/>
            <a:ext cx="5940000" cy="307777"/>
          </a:xfrm>
        </p:spPr>
        <p:txBody>
          <a:bodyPr/>
          <a:lstStyle/>
          <a:p>
            <a:r>
              <a:rPr lang="en-AU" dirty="0"/>
              <a:t>&lt;</a:t>
            </a:r>
            <a:r>
              <a:rPr lang="en-AU"/>
              <a:t>name&gt;</a:t>
            </a:r>
            <a:endParaRPr lang="en-AU" dirty="0"/>
          </a:p>
        </p:txBody>
      </p:sp>
      <p:sp>
        <p:nvSpPr>
          <p:cNvPr id="14" name="Text Placeholder 13">
            <a:extLst>
              <a:ext uri="{FF2B5EF4-FFF2-40B4-BE49-F238E27FC236}">
                <a16:creationId xmlns:a16="http://schemas.microsoft.com/office/drawing/2014/main" id="{DD0BEAB0-D004-444A-AF6E-0C735E676859}"/>
              </a:ext>
            </a:extLst>
          </p:cNvPr>
          <p:cNvSpPr>
            <a:spLocks noGrp="1"/>
          </p:cNvSpPr>
          <p:nvPr>
            <p:ph type="body" sz="quarter" idx="22"/>
          </p:nvPr>
        </p:nvSpPr>
        <p:spPr>
          <a:xfrm>
            <a:off x="583764" y="6048374"/>
            <a:ext cx="5940000" cy="307777"/>
          </a:xfrm>
        </p:spPr>
        <p:txBody>
          <a:bodyPr/>
          <a:lstStyle/>
          <a:p>
            <a:r>
              <a:rPr lang="en-AU" dirty="0"/>
              <a:t>Date: &lt;date&gt;</a:t>
            </a:r>
          </a:p>
        </p:txBody>
      </p:sp>
      <p:pic>
        <p:nvPicPr>
          <p:cNvPr id="4" name="Picture 3">
            <a:extLst>
              <a:ext uri="{FF2B5EF4-FFF2-40B4-BE49-F238E27FC236}">
                <a16:creationId xmlns:a16="http://schemas.microsoft.com/office/drawing/2014/main" id="{A6C4FD66-2FFB-76CB-5BB3-BF130A290003}"/>
              </a:ext>
            </a:extLst>
          </p:cNvPr>
          <p:cNvPicPr>
            <a:picLocks noChangeAspect="1"/>
          </p:cNvPicPr>
          <p:nvPr/>
        </p:nvPicPr>
        <p:blipFill>
          <a:blip r:embed="rId2"/>
          <a:stretch>
            <a:fillRect/>
          </a:stretch>
        </p:blipFill>
        <p:spPr>
          <a:xfrm>
            <a:off x="6297117" y="1394424"/>
            <a:ext cx="5411128" cy="3880144"/>
          </a:xfrm>
          <a:prstGeom prst="rect">
            <a:avLst/>
          </a:prstGeom>
        </p:spPr>
      </p:pic>
    </p:spTree>
    <p:extLst>
      <p:ext uri="{BB962C8B-B14F-4D97-AF65-F5344CB8AC3E}">
        <p14:creationId xmlns:p14="http://schemas.microsoft.com/office/powerpoint/2010/main" val="30225814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3DE7EA4-1E0A-47F0-8B57-890385CF1D95}"/>
              </a:ext>
            </a:extLst>
          </p:cNvPr>
          <p:cNvSpPr>
            <a:spLocks noGrp="1"/>
          </p:cNvSpPr>
          <p:nvPr>
            <p:ph type="title"/>
          </p:nvPr>
        </p:nvSpPr>
        <p:spPr/>
        <p:txBody>
          <a:bodyPr>
            <a:normAutofit/>
          </a:bodyPr>
          <a:lstStyle/>
          <a:p>
            <a:r>
              <a:rPr lang="en-US" b="1" spc="-50" dirty="0">
                <a:solidFill>
                  <a:schemeClr val="tx1">
                    <a:lumMod val="75000"/>
                  </a:schemeClr>
                </a:solidFill>
                <a:latin typeface="Segoe UI Semibold" panose="020B0702040204020203" pitchFamily="34" charset="0"/>
                <a:cs typeface="Segoe UI Semibold" panose="020B0702040204020203" pitchFamily="34" charset="0"/>
              </a:rPr>
              <a:t>What is going well</a:t>
            </a:r>
            <a:endParaRPr lang="en-US" sz="1800" dirty="0">
              <a:solidFill>
                <a:schemeClr val="accent1">
                  <a:lumMod val="50000"/>
                </a:schemeClr>
              </a:solidFill>
              <a:latin typeface="Segoe UI Semibold" panose="020B0702040204020203" pitchFamily="34" charset="0"/>
              <a:cs typeface="Segoe UI Semibold" panose="020B0702040204020203" pitchFamily="34" charset="0"/>
            </a:endParaRPr>
          </a:p>
        </p:txBody>
      </p:sp>
      <p:sp>
        <p:nvSpPr>
          <p:cNvPr id="4" name="Content Placeholder 3">
            <a:extLst>
              <a:ext uri="{FF2B5EF4-FFF2-40B4-BE49-F238E27FC236}">
                <a16:creationId xmlns:a16="http://schemas.microsoft.com/office/drawing/2014/main" id="{9AA347F1-B878-4968-B4CB-E445DD9C30A2}"/>
              </a:ext>
            </a:extLst>
          </p:cNvPr>
          <p:cNvSpPr>
            <a:spLocks noGrp="1"/>
          </p:cNvSpPr>
          <p:nvPr>
            <p:ph sz="quarter" idx="10"/>
          </p:nvPr>
        </p:nvSpPr>
        <p:spPr>
          <a:xfrm>
            <a:off x="584200" y="1435100"/>
            <a:ext cx="11018838" cy="763286"/>
          </a:xfrm>
        </p:spPr>
        <p:txBody>
          <a:bodyPr/>
          <a:lstStyle/>
          <a:p>
            <a:r>
              <a:rPr lang="en-GB" b="1" dirty="0">
                <a:solidFill>
                  <a:schemeClr val="accent1"/>
                </a:solidFill>
              </a:rPr>
              <a:t>Put here what is going well</a:t>
            </a:r>
          </a:p>
          <a:p>
            <a:pPr marL="0" indent="0">
              <a:buNone/>
            </a:pPr>
            <a:endParaRPr lang="en-GB" sz="1800" dirty="0"/>
          </a:p>
        </p:txBody>
      </p:sp>
    </p:spTree>
    <p:extLst>
      <p:ext uri="{BB962C8B-B14F-4D97-AF65-F5344CB8AC3E}">
        <p14:creationId xmlns:p14="http://schemas.microsoft.com/office/powerpoint/2010/main" val="20587260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3DE7EA4-1E0A-47F0-8B57-890385CF1D95}"/>
              </a:ext>
            </a:extLst>
          </p:cNvPr>
          <p:cNvSpPr>
            <a:spLocks noGrp="1"/>
          </p:cNvSpPr>
          <p:nvPr>
            <p:ph type="title"/>
          </p:nvPr>
        </p:nvSpPr>
        <p:spPr/>
        <p:txBody>
          <a:bodyPr>
            <a:normAutofit fontScale="90000"/>
          </a:bodyPr>
          <a:lstStyle/>
          <a:p>
            <a:r>
              <a:rPr lang="en-US" sz="4000" b="1" spc="-50" dirty="0">
                <a:solidFill>
                  <a:schemeClr val="tx1">
                    <a:lumMod val="75000"/>
                  </a:schemeClr>
                </a:solidFill>
                <a:latin typeface="Segoe UI Semibold" panose="020B0702040204020203" pitchFamily="34" charset="0"/>
                <a:cs typeface="Segoe UI Semibold" panose="020B0702040204020203" pitchFamily="34" charset="0"/>
              </a:rPr>
              <a:t>Improvement Opportunities</a:t>
            </a:r>
            <a:endParaRPr lang="en-US" sz="2000" dirty="0">
              <a:solidFill>
                <a:schemeClr val="accent1">
                  <a:lumMod val="50000"/>
                </a:schemeClr>
              </a:solidFill>
              <a:latin typeface="Segoe UI Semibold" panose="020B0702040204020203" pitchFamily="34" charset="0"/>
              <a:cs typeface="Segoe UI Semibold" panose="020B0702040204020203" pitchFamily="34" charset="0"/>
            </a:endParaRPr>
          </a:p>
        </p:txBody>
      </p:sp>
      <p:sp>
        <p:nvSpPr>
          <p:cNvPr id="8" name="Content Placeholder 7">
            <a:extLst>
              <a:ext uri="{FF2B5EF4-FFF2-40B4-BE49-F238E27FC236}">
                <a16:creationId xmlns:a16="http://schemas.microsoft.com/office/drawing/2014/main" id="{BB0068A8-75C6-4868-87D8-6CC8FD7672C2}"/>
              </a:ext>
            </a:extLst>
          </p:cNvPr>
          <p:cNvSpPr>
            <a:spLocks noGrp="1"/>
          </p:cNvSpPr>
          <p:nvPr>
            <p:ph sz="quarter" idx="10"/>
          </p:nvPr>
        </p:nvSpPr>
        <p:spPr>
          <a:xfrm>
            <a:off x="584200" y="1435100"/>
            <a:ext cx="11018838" cy="763286"/>
          </a:xfrm>
        </p:spPr>
        <p:txBody>
          <a:bodyPr/>
          <a:lstStyle/>
          <a:p>
            <a:r>
              <a:rPr lang="en-GB" b="1" dirty="0">
                <a:solidFill>
                  <a:schemeClr val="accent1"/>
                </a:solidFill>
              </a:rPr>
              <a:t>Put here N P0, P1, P2 points of improvement</a:t>
            </a:r>
          </a:p>
          <a:p>
            <a:endParaRPr lang="en-GB" sz="1800" dirty="0"/>
          </a:p>
        </p:txBody>
      </p:sp>
    </p:spTree>
    <p:extLst>
      <p:ext uri="{BB962C8B-B14F-4D97-AF65-F5344CB8AC3E}">
        <p14:creationId xmlns:p14="http://schemas.microsoft.com/office/powerpoint/2010/main" val="35176051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Cluster must be private</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a:gradFill>
                  <a:gsLst>
                    <a:gs pos="2917">
                      <a:schemeClr val="tx1"/>
                    </a:gs>
                    <a:gs pos="30000">
                      <a:schemeClr val="tx1"/>
                    </a:gs>
                  </a:gsLst>
                  <a:lin ang="5400000" scaled="0"/>
                </a:gradFill>
              </a:rPr>
              <a:t>Consider create clusters in private mode:</a:t>
            </a:r>
          </a:p>
          <a:p>
            <a:pPr marL="342900" indent="-342900">
              <a:buFont typeface="Arial" panose="020B0604020202020204" pitchFamily="34" charset="0"/>
              <a:buChar char="•"/>
            </a:pPr>
            <a:r>
              <a:rPr lang="en-GB" sz="2000">
                <a:hlinkClick r:id="rId3"/>
              </a:rPr>
              <a:t>Create a private Azure Kubernetes Service (AKS) cluster - Azure Kubernetes Service | Microsoft Learn</a:t>
            </a:r>
            <a:endParaRPr lang="en-GB" sz="2000" dirty="0">
              <a:gradFill>
                <a:gsLst>
                  <a:gs pos="2917">
                    <a:schemeClr val="tx1"/>
                  </a:gs>
                  <a:gs pos="30000">
                    <a:schemeClr val="tx1"/>
                  </a:gs>
                </a:gsLst>
                <a:lin ang="5400000" scaled="0"/>
              </a:gradFill>
            </a:endParaRPr>
          </a:p>
        </p:txBody>
      </p:sp>
      <p:pic>
        <p:nvPicPr>
          <p:cNvPr id="9" name="Picture 8">
            <a:extLst>
              <a:ext uri="{FF2B5EF4-FFF2-40B4-BE49-F238E27FC236}">
                <a16:creationId xmlns:a16="http://schemas.microsoft.com/office/drawing/2014/main" id="{C0262497-908A-0129-AF7E-988853F1D764}"/>
              </a:ext>
            </a:extLst>
          </p:cNvPr>
          <p:cNvPicPr>
            <a:picLocks noChangeAspect="1"/>
          </p:cNvPicPr>
          <p:nvPr/>
        </p:nvPicPr>
        <p:blipFill>
          <a:blip r:embed="rId4"/>
          <a:stretch>
            <a:fillRect/>
          </a:stretch>
        </p:blipFill>
        <p:spPr>
          <a:xfrm>
            <a:off x="291015" y="1011198"/>
            <a:ext cx="1908975" cy="2133785"/>
          </a:xfrm>
          <a:prstGeom prst="rect">
            <a:avLst/>
          </a:prstGeom>
        </p:spPr>
      </p:pic>
      <p:sp>
        <p:nvSpPr>
          <p:cNvPr id="11" name="TextBox 10">
            <a:extLst>
              <a:ext uri="{FF2B5EF4-FFF2-40B4-BE49-F238E27FC236}">
                <a16:creationId xmlns:a16="http://schemas.microsoft.com/office/drawing/2014/main" id="{9099E37A-A448-D3B2-0042-D9CFF0F4FDE5}"/>
              </a:ext>
            </a:extLst>
          </p:cNvPr>
          <p:cNvSpPr txBox="1"/>
          <p:nvPr/>
        </p:nvSpPr>
        <p:spPr>
          <a:xfrm>
            <a:off x="2407586" y="1443566"/>
            <a:ext cx="3485214" cy="1969770"/>
          </a:xfrm>
          <a:prstGeom prst="rect">
            <a:avLst/>
          </a:prstGeom>
          <a:noFill/>
        </p:spPr>
        <p:txBody>
          <a:bodyPr wrap="square" lIns="0" tIns="0" rIns="0" bIns="0" rtlCol="0">
            <a:spAutoFit/>
          </a:bodyPr>
          <a:lstStyle/>
          <a:p>
            <a:pPr algn="l"/>
            <a:r>
              <a:rPr lang="en-US" sz="2000" b="1">
                <a:gradFill>
                  <a:gsLst>
                    <a:gs pos="2917">
                      <a:schemeClr val="tx1"/>
                    </a:gs>
                    <a:gs pos="30000">
                      <a:schemeClr val="tx1"/>
                    </a:gs>
                  </a:gsLst>
                  <a:lin ang="5400000" scaled="0"/>
                </a:gradFill>
              </a:rPr>
              <a:t>Benefits:</a:t>
            </a:r>
            <a:br>
              <a:rPr lang="en-US" sz="2000">
                <a:gradFill>
                  <a:gsLst>
                    <a:gs pos="2917">
                      <a:schemeClr val="tx1"/>
                    </a:gs>
                    <a:gs pos="30000">
                      <a:schemeClr val="tx1"/>
                    </a:gs>
                  </a:gsLst>
                  <a:lin ang="5400000" scaled="0"/>
                </a:gradFill>
              </a:rPr>
            </a:br>
            <a:r>
              <a:rPr lang="en-US" sz="1800">
                <a:gradFill>
                  <a:gsLst>
                    <a:gs pos="2917">
                      <a:schemeClr val="tx1"/>
                    </a:gs>
                    <a:gs pos="30000">
                      <a:schemeClr val="tx1"/>
                    </a:gs>
                  </a:gsLst>
                  <a:lin ang="5400000" scaled="0"/>
                </a:gradFill>
              </a:rPr>
              <a:t>-Ensure cluster management traffic to your API server  and network traffic between your API server and your node pools remains on the private network only.</a:t>
            </a:r>
            <a:endParaRPr lang="en-US" sz="2000" dirty="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34CCDED3-5F7A-957F-338C-E1223BC27D89}"/>
              </a:ext>
            </a:extLst>
          </p:cNvPr>
          <p:cNvSpPr txBox="1"/>
          <p:nvPr/>
        </p:nvSpPr>
        <p:spPr>
          <a:xfrm>
            <a:off x="6832599" y="1443566"/>
            <a:ext cx="4601633" cy="2462213"/>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If too risky, verify that your API Server implements IP restrictions</a:t>
            </a:r>
          </a:p>
          <a:p>
            <a:pPr marL="457200" indent="-457200" algn="l">
              <a:buFont typeface="+mj-lt"/>
              <a:buAutoNum type="arabicPeriod"/>
            </a:pPr>
            <a:r>
              <a:rPr lang="en-US" sz="2000" dirty="0">
                <a:gradFill>
                  <a:gsLst>
                    <a:gs pos="2917">
                      <a:schemeClr val="tx1"/>
                    </a:gs>
                    <a:gs pos="30000">
                      <a:schemeClr val="tx1"/>
                    </a:gs>
                  </a:gsLst>
                  <a:lin ang="5400000" scaled="0"/>
                </a:gradFill>
              </a:rPr>
              <a:t>Recreate the cluster (evaluate AKS Backup)</a:t>
            </a:r>
          </a:p>
          <a:p>
            <a:pPr marL="457200" indent="-457200" algn="l">
              <a:buFont typeface="+mj-lt"/>
              <a:buAutoNum type="arabicPeriod"/>
            </a:pPr>
            <a:r>
              <a:rPr lang="en-US" sz="2000" dirty="0">
                <a:gradFill>
                  <a:gsLst>
                    <a:gs pos="2917">
                      <a:schemeClr val="tx1"/>
                    </a:gs>
                    <a:gs pos="30000">
                      <a:schemeClr val="tx1"/>
                    </a:gs>
                  </a:gsLst>
                  <a:lin ang="5400000" scaled="0"/>
                </a:gradFill>
              </a:rPr>
              <a:t>Provision a </a:t>
            </a:r>
            <a:r>
              <a:rPr lang="en-US" sz="2000" dirty="0" err="1">
                <a:gradFill>
                  <a:gsLst>
                    <a:gs pos="2917">
                      <a:schemeClr val="tx1"/>
                    </a:gs>
                    <a:gs pos="30000">
                      <a:schemeClr val="tx1"/>
                    </a:gs>
                  </a:gsLst>
                  <a:lin ang="5400000" scaled="0"/>
                </a:gradFill>
              </a:rPr>
              <a:t>JumpBox</a:t>
            </a:r>
            <a:r>
              <a:rPr lang="en-US" sz="2000" dirty="0">
                <a:gradFill>
                  <a:gsLst>
                    <a:gs pos="2917">
                      <a:schemeClr val="tx1"/>
                    </a:gs>
                    <a:gs pos="30000">
                      <a:schemeClr val="tx1"/>
                    </a:gs>
                  </a:gsLst>
                  <a:lin ang="5400000" scaled="0"/>
                </a:gradFill>
              </a:rPr>
              <a:t> for cluster management operations </a:t>
            </a:r>
          </a:p>
          <a:p>
            <a:pPr marL="457200" indent="-457200" algn="l">
              <a:buFont typeface="+mj-lt"/>
              <a:buAutoNum type="arabicPeriod"/>
            </a:pPr>
            <a:r>
              <a:rPr lang="en-US" sz="2000" dirty="0">
                <a:gradFill>
                  <a:gsLst>
                    <a:gs pos="2917">
                      <a:schemeClr val="tx1"/>
                    </a:gs>
                    <a:gs pos="30000">
                      <a:schemeClr val="tx1"/>
                    </a:gs>
                  </a:gsLst>
                  <a:lin ang="5400000" scaled="0"/>
                </a:gradFill>
              </a:rPr>
              <a:t>Provision a CI/CD self-hosted agent</a:t>
            </a:r>
          </a:p>
        </p:txBody>
      </p:sp>
    </p:spTree>
    <p:extLst>
      <p:ext uri="{BB962C8B-B14F-4D97-AF65-F5344CB8AC3E}">
        <p14:creationId xmlns:p14="http://schemas.microsoft.com/office/powerpoint/2010/main" val="33571756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NSG should be linked to node pools subnets</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reate and associate a NSG to subnets:</a:t>
            </a:r>
          </a:p>
          <a:p>
            <a:pPr marL="342900" indent="-342900">
              <a:buFont typeface="Arial" panose="020B0604020202020204" pitchFamily="34" charset="0"/>
              <a:buChar char="•"/>
            </a:pPr>
            <a:r>
              <a:rPr lang="en-US" sz="2000" dirty="0">
                <a:hlinkClick r:id="rId3"/>
              </a:rPr>
              <a:t>AKS - Azure - Network security groups</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CF530C9B-7763-21D5-8F37-863A620068A5}"/>
              </a:ext>
            </a:extLst>
          </p:cNvPr>
          <p:cNvPicPr>
            <a:picLocks noChangeAspect="1"/>
          </p:cNvPicPr>
          <p:nvPr/>
        </p:nvPicPr>
        <p:blipFill>
          <a:blip r:embed="rId4"/>
          <a:stretch>
            <a:fillRect/>
          </a:stretch>
        </p:blipFill>
        <p:spPr>
          <a:xfrm>
            <a:off x="317198" y="1091496"/>
            <a:ext cx="2091871" cy="2152837"/>
          </a:xfrm>
          <a:prstGeom prst="rect">
            <a:avLst/>
          </a:prstGeom>
        </p:spPr>
      </p:pic>
      <p:sp>
        <p:nvSpPr>
          <p:cNvPr id="7" name="TextBox 6">
            <a:extLst>
              <a:ext uri="{FF2B5EF4-FFF2-40B4-BE49-F238E27FC236}">
                <a16:creationId xmlns:a16="http://schemas.microsoft.com/office/drawing/2014/main" id="{A00D6B87-6AB2-0E6F-8EAB-4C7004CB5998}"/>
              </a:ext>
            </a:extLst>
          </p:cNvPr>
          <p:cNvSpPr txBox="1"/>
          <p:nvPr/>
        </p:nvSpPr>
        <p:spPr>
          <a:xfrm>
            <a:off x="2407586" y="1443566"/>
            <a:ext cx="3485214" cy="861774"/>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1800" dirty="0">
                <a:gradFill>
                  <a:gsLst>
                    <a:gs pos="2917">
                      <a:schemeClr val="tx1"/>
                    </a:gs>
                    <a:gs pos="30000">
                      <a:schemeClr val="tx1"/>
                    </a:gs>
                  </a:gsLst>
                  <a:lin ang="5400000" scaled="0"/>
                </a:gradFill>
              </a:rPr>
              <a:t>- Control Inbound/Outbound traffic for your Node pools</a:t>
            </a:r>
          </a:p>
        </p:txBody>
      </p:sp>
      <p:sp>
        <p:nvSpPr>
          <p:cNvPr id="8" name="TextBox 7">
            <a:extLst>
              <a:ext uri="{FF2B5EF4-FFF2-40B4-BE49-F238E27FC236}">
                <a16:creationId xmlns:a16="http://schemas.microsoft.com/office/drawing/2014/main" id="{06A3F60E-C445-9476-5F3C-F0F28DA4BE27}"/>
              </a:ext>
            </a:extLst>
          </p:cNvPr>
          <p:cNvSpPr txBox="1"/>
          <p:nvPr/>
        </p:nvSpPr>
        <p:spPr>
          <a:xfrm>
            <a:off x="6832599" y="1443566"/>
            <a:ext cx="4999568" cy="1231106"/>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Create the NSG</a:t>
            </a:r>
          </a:p>
          <a:p>
            <a:pPr marL="457200" indent="-457200" algn="l">
              <a:buFont typeface="+mj-lt"/>
              <a:buAutoNum type="arabicPeriod"/>
            </a:pPr>
            <a:r>
              <a:rPr lang="en-US" sz="2000" dirty="0">
                <a:gradFill>
                  <a:gsLst>
                    <a:gs pos="2917">
                      <a:schemeClr val="tx1"/>
                    </a:gs>
                    <a:gs pos="30000">
                      <a:schemeClr val="tx1"/>
                    </a:gs>
                  </a:gsLst>
                  <a:lin ang="5400000" scaled="0"/>
                </a:gradFill>
              </a:rPr>
              <a:t>Associate it to the Node pools subnets</a:t>
            </a:r>
          </a:p>
          <a:p>
            <a:pPr marL="457200" indent="-457200" algn="l">
              <a:buFont typeface="+mj-lt"/>
              <a:buAutoNum type="arabicPeriod"/>
            </a:pPr>
            <a:r>
              <a:rPr lang="en-US" sz="2000" dirty="0">
                <a:gradFill>
                  <a:gsLst>
                    <a:gs pos="2917">
                      <a:schemeClr val="tx1"/>
                    </a:gs>
                    <a:gs pos="30000">
                      <a:schemeClr val="tx1"/>
                    </a:gs>
                  </a:gsLst>
                  <a:lin ang="5400000" scaled="0"/>
                </a:gradFill>
              </a:rPr>
              <a:t>Configure the allow/deny rules</a:t>
            </a:r>
          </a:p>
        </p:txBody>
      </p:sp>
    </p:spTree>
    <p:extLst>
      <p:ext uri="{BB962C8B-B14F-4D97-AF65-F5344CB8AC3E}">
        <p14:creationId xmlns:p14="http://schemas.microsoft.com/office/powerpoint/2010/main" val="19356611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External IP addresses should not be associated with AKS load balancer</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using an internal load balancer:</a:t>
            </a:r>
          </a:p>
          <a:p>
            <a:pPr marL="342900" indent="-342900">
              <a:buFont typeface="Arial" panose="020B0604020202020204" pitchFamily="34" charset="0"/>
              <a:buChar char="•"/>
            </a:pPr>
            <a:r>
              <a:rPr lang="en-US" sz="2000" dirty="0">
                <a:hlinkClick r:id="rId3"/>
              </a:rPr>
              <a:t>Create an internal load balancer - Azure Kubernetes Service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550AB831-9CD8-713F-1D95-E2D20ADE80AA}"/>
              </a:ext>
            </a:extLst>
          </p:cNvPr>
          <p:cNvPicPr>
            <a:picLocks noChangeAspect="1"/>
          </p:cNvPicPr>
          <p:nvPr/>
        </p:nvPicPr>
        <p:blipFill>
          <a:blip r:embed="rId4"/>
          <a:stretch>
            <a:fillRect/>
          </a:stretch>
        </p:blipFill>
        <p:spPr>
          <a:xfrm>
            <a:off x="438279" y="1468444"/>
            <a:ext cx="1908975" cy="2278577"/>
          </a:xfrm>
          <a:prstGeom prst="rect">
            <a:avLst/>
          </a:prstGeom>
        </p:spPr>
      </p:pic>
      <p:sp>
        <p:nvSpPr>
          <p:cNvPr id="7" name="TextBox 6">
            <a:extLst>
              <a:ext uri="{FF2B5EF4-FFF2-40B4-BE49-F238E27FC236}">
                <a16:creationId xmlns:a16="http://schemas.microsoft.com/office/drawing/2014/main" id="{620426FD-00A7-D550-EF08-62A025E5EB14}"/>
              </a:ext>
            </a:extLst>
          </p:cNvPr>
          <p:cNvSpPr txBox="1"/>
          <p:nvPr/>
        </p:nvSpPr>
        <p:spPr>
          <a:xfrm>
            <a:off x="2407586" y="1443566"/>
            <a:ext cx="3485214" cy="1415772"/>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1800" dirty="0">
                <a:gradFill>
                  <a:gsLst>
                    <a:gs pos="2917">
                      <a:schemeClr val="tx1"/>
                    </a:gs>
                    <a:gs pos="30000">
                      <a:schemeClr val="tx1"/>
                    </a:gs>
                  </a:gsLst>
                  <a:lin ang="5400000" scaled="0"/>
                </a:gradFill>
              </a:rPr>
              <a:t>- Application running in the cluster and exposed through a service are protected from internet access</a:t>
            </a:r>
          </a:p>
        </p:txBody>
      </p:sp>
      <p:sp>
        <p:nvSpPr>
          <p:cNvPr id="8" name="TextBox 7">
            <a:extLst>
              <a:ext uri="{FF2B5EF4-FFF2-40B4-BE49-F238E27FC236}">
                <a16:creationId xmlns:a16="http://schemas.microsoft.com/office/drawing/2014/main" id="{1E98E8A6-B1C8-36ED-8C7C-D45FEA91D758}"/>
              </a:ext>
            </a:extLst>
          </p:cNvPr>
          <p:cNvSpPr txBox="1"/>
          <p:nvPr/>
        </p:nvSpPr>
        <p:spPr>
          <a:xfrm>
            <a:off x="6832599" y="1443566"/>
            <a:ext cx="4999568" cy="3077766"/>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Switch the standard load balancer to an internal load balancer (??)</a:t>
            </a:r>
          </a:p>
          <a:p>
            <a:pPr marL="457200" indent="-457200" algn="l">
              <a:buFont typeface="+mj-lt"/>
              <a:buAutoNum type="arabicPeriod"/>
            </a:pPr>
            <a:r>
              <a:rPr lang="en-US" sz="2000" dirty="0">
                <a:gradFill>
                  <a:gsLst>
                    <a:gs pos="2917">
                      <a:schemeClr val="tx1"/>
                    </a:gs>
                    <a:gs pos="30000">
                      <a:schemeClr val="tx1"/>
                    </a:gs>
                  </a:gsLst>
                  <a:lin ang="5400000" scaled="0"/>
                </a:gradFill>
              </a:rPr>
              <a:t>Use Azure Application Gateway to expose your applications configuring the internal load balancer IP as backend pool or enable Application Gateway ingress controller</a:t>
            </a:r>
          </a:p>
          <a:p>
            <a:pPr marL="457200" indent="-457200" algn="l">
              <a:buFont typeface="+mj-lt"/>
              <a:buAutoNum type="arabicPeriod"/>
            </a:pPr>
            <a:r>
              <a:rPr lang="en-US" sz="2000" dirty="0">
                <a:gradFill>
                  <a:gsLst>
                    <a:gs pos="2917">
                      <a:schemeClr val="tx1"/>
                    </a:gs>
                    <a:gs pos="30000">
                      <a:schemeClr val="tx1"/>
                    </a:gs>
                  </a:gsLst>
                  <a:lin ang="5400000" scaled="0"/>
                </a:gradFill>
              </a:rPr>
              <a:t>Leverage the WAF Features</a:t>
            </a:r>
          </a:p>
          <a:p>
            <a:pPr marL="457200" indent="-457200" algn="l">
              <a:buFont typeface="+mj-lt"/>
              <a:buAutoNum type="arabicPeriod"/>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714364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Network policies (Azure or Calico)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Enable network policies:</a:t>
            </a:r>
          </a:p>
          <a:p>
            <a:pPr marL="342900" indent="-342900">
              <a:buFont typeface="Arial" panose="020B0604020202020204" pitchFamily="34" charset="0"/>
              <a:buChar char="•"/>
            </a:pPr>
            <a:r>
              <a:rPr lang="en-US" sz="2000" dirty="0">
                <a:hlinkClick r:id="rId3"/>
              </a:rPr>
              <a:t>Secure pod traffic with network policy - Azure Kubernetes Service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73C812AF-7ACE-939D-35C9-7EDF1BA4FBCC}"/>
              </a:ext>
            </a:extLst>
          </p:cNvPr>
          <p:cNvPicPr>
            <a:picLocks noChangeAspect="1"/>
          </p:cNvPicPr>
          <p:nvPr/>
        </p:nvPicPr>
        <p:blipFill>
          <a:blip r:embed="rId4"/>
          <a:stretch>
            <a:fillRect/>
          </a:stretch>
        </p:blipFill>
        <p:spPr>
          <a:xfrm>
            <a:off x="307252" y="1390130"/>
            <a:ext cx="2027096" cy="2240474"/>
          </a:xfrm>
          <a:prstGeom prst="rect">
            <a:avLst/>
          </a:prstGeom>
        </p:spPr>
      </p:pic>
      <p:sp>
        <p:nvSpPr>
          <p:cNvPr id="3" name="TextBox 2">
            <a:extLst>
              <a:ext uri="{FF2B5EF4-FFF2-40B4-BE49-F238E27FC236}">
                <a16:creationId xmlns:a16="http://schemas.microsoft.com/office/drawing/2014/main" id="{490B070C-E729-4858-9418-0BF12061B521}"/>
              </a:ext>
            </a:extLst>
          </p:cNvPr>
          <p:cNvSpPr txBox="1"/>
          <p:nvPr/>
        </p:nvSpPr>
        <p:spPr>
          <a:xfrm>
            <a:off x="2407585" y="1443565"/>
            <a:ext cx="3722281" cy="1969770"/>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1800" dirty="0">
                <a:gradFill>
                  <a:gsLst>
                    <a:gs pos="2917">
                      <a:schemeClr val="tx1"/>
                    </a:gs>
                    <a:gs pos="30000">
                      <a:schemeClr val="tx1"/>
                    </a:gs>
                  </a:gsLst>
                  <a:lin ang="5400000" scaled="0"/>
                </a:gradFill>
              </a:rPr>
              <a:t>- Control communication between pods</a:t>
            </a:r>
          </a:p>
          <a:p>
            <a:pPr algn="l"/>
            <a:r>
              <a:rPr lang="en-US" sz="1800" dirty="0">
                <a:gradFill>
                  <a:gsLst>
                    <a:gs pos="2917">
                      <a:schemeClr val="tx1"/>
                    </a:gs>
                    <a:gs pos="30000">
                      <a:schemeClr val="tx1"/>
                    </a:gs>
                  </a:gsLst>
                  <a:lin ang="5400000" scaled="0"/>
                </a:gradFill>
              </a:rPr>
              <a:t>- Improve security by reduces the attack surface and prevents unauthorized access to sensitive data or resources</a:t>
            </a:r>
          </a:p>
        </p:txBody>
      </p:sp>
      <p:sp>
        <p:nvSpPr>
          <p:cNvPr id="4" name="TextBox 3">
            <a:extLst>
              <a:ext uri="{FF2B5EF4-FFF2-40B4-BE49-F238E27FC236}">
                <a16:creationId xmlns:a16="http://schemas.microsoft.com/office/drawing/2014/main" id="{6DF1FD87-BBB4-6523-650E-CBEB81A5C46A}"/>
              </a:ext>
            </a:extLst>
          </p:cNvPr>
          <p:cNvSpPr txBox="1"/>
          <p:nvPr/>
        </p:nvSpPr>
        <p:spPr>
          <a:xfrm>
            <a:off x="6832599" y="1443566"/>
            <a:ext cx="4999568" cy="2769989"/>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Recreate the cluster (evaluate AKS Backup)</a:t>
            </a:r>
          </a:p>
          <a:p>
            <a:pPr marL="457200" indent="-457200" algn="l">
              <a:buFont typeface="+mj-lt"/>
              <a:buAutoNum type="arabicPeriod"/>
            </a:pPr>
            <a:r>
              <a:rPr lang="en-US" sz="2000" dirty="0">
                <a:gradFill>
                  <a:gsLst>
                    <a:gs pos="2917">
                      <a:schemeClr val="tx1"/>
                    </a:gs>
                    <a:gs pos="30000">
                      <a:schemeClr val="tx1"/>
                    </a:gs>
                  </a:gsLst>
                  <a:lin ang="5400000" scaled="0"/>
                </a:gradFill>
              </a:rPr>
              <a:t>Choose between Azure or Calico Network Policies</a:t>
            </a:r>
          </a:p>
          <a:p>
            <a:pPr marL="457200" indent="-457200" algn="l">
              <a:buFont typeface="+mj-lt"/>
              <a:buAutoNum type="arabicPeriod"/>
            </a:pPr>
            <a:r>
              <a:rPr lang="en-US" sz="2000" dirty="0">
                <a:gradFill>
                  <a:gsLst>
                    <a:gs pos="2917">
                      <a:schemeClr val="tx1"/>
                    </a:gs>
                    <a:gs pos="30000">
                      <a:schemeClr val="tx1"/>
                    </a:gs>
                  </a:gsLst>
                  <a:lin ang="5400000" scaled="0"/>
                </a:gradFill>
              </a:rPr>
              <a:t>Design manifests for the allowed communication between pods</a:t>
            </a:r>
          </a:p>
          <a:p>
            <a:pPr marL="457200" indent="-457200" algn="l">
              <a:buFont typeface="+mj-lt"/>
              <a:buAutoNum type="arabicPeriod"/>
            </a:pPr>
            <a:r>
              <a:rPr lang="en-US" sz="2000" dirty="0">
                <a:gradFill>
                  <a:gsLst>
                    <a:gs pos="2917">
                      <a:schemeClr val="tx1"/>
                    </a:gs>
                    <a:gs pos="30000">
                      <a:schemeClr val="tx1"/>
                    </a:gs>
                  </a:gsLst>
                  <a:lin ang="5400000" scaled="0"/>
                </a:gradFill>
              </a:rPr>
              <a:t>Package and deploy the manifests</a:t>
            </a:r>
          </a:p>
          <a:p>
            <a:pPr marL="457200" indent="-457200" algn="l">
              <a:buFont typeface="+mj-lt"/>
              <a:buAutoNum type="arabicPeriod"/>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848599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Public FQDN should be dis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Disable Public FQDN:</a:t>
            </a:r>
          </a:p>
          <a:p>
            <a:pPr marL="342900" indent="-342900">
              <a:buFont typeface="Arial" panose="020B0604020202020204" pitchFamily="34" charset="0"/>
              <a:buChar char="•"/>
            </a:pPr>
            <a:r>
              <a:rPr lang="en-GB" sz="2000" dirty="0">
                <a:hlinkClick r:id="rId3"/>
              </a:rPr>
              <a:t>Create a private Azure Kubernetes Service (AKS) cluster - Disable a public FQDN -Azure Kubernetes Service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CF720F51-2369-F811-9460-E42133A401E0}"/>
              </a:ext>
            </a:extLst>
          </p:cNvPr>
          <p:cNvPicPr>
            <a:picLocks noChangeAspect="1"/>
          </p:cNvPicPr>
          <p:nvPr/>
        </p:nvPicPr>
        <p:blipFill>
          <a:blip r:embed="rId4"/>
          <a:stretch>
            <a:fillRect/>
          </a:stretch>
        </p:blipFill>
        <p:spPr>
          <a:xfrm>
            <a:off x="457543" y="1011198"/>
            <a:ext cx="1836579" cy="2145216"/>
          </a:xfrm>
          <a:prstGeom prst="rect">
            <a:avLst/>
          </a:prstGeom>
        </p:spPr>
      </p:pic>
      <p:sp>
        <p:nvSpPr>
          <p:cNvPr id="3" name="TextBox 2">
            <a:extLst>
              <a:ext uri="{FF2B5EF4-FFF2-40B4-BE49-F238E27FC236}">
                <a16:creationId xmlns:a16="http://schemas.microsoft.com/office/drawing/2014/main" id="{B10921BA-1BC5-60CB-70EB-C81739FB63CF}"/>
              </a:ext>
            </a:extLst>
          </p:cNvPr>
          <p:cNvSpPr txBox="1"/>
          <p:nvPr/>
        </p:nvSpPr>
        <p:spPr>
          <a:xfrm>
            <a:off x="2407586" y="1443566"/>
            <a:ext cx="3485214" cy="2031325"/>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 To be used with private clusters</a:t>
            </a:r>
          </a:p>
          <a:p>
            <a:pPr algn="l"/>
            <a:r>
              <a:rPr lang="en-US" sz="1800" dirty="0">
                <a:gradFill>
                  <a:gsLst>
                    <a:gs pos="2917">
                      <a:schemeClr val="tx1"/>
                    </a:gs>
                    <a:gs pos="30000">
                      <a:schemeClr val="tx1"/>
                    </a:gs>
                  </a:gsLst>
                  <a:lin ang="5400000" scaled="0"/>
                </a:gradFill>
              </a:rPr>
              <a:t>- Limit the API Server name resolution to the VNET chosen for the private cluster and relative Private DNS zone</a:t>
            </a:r>
          </a:p>
        </p:txBody>
      </p:sp>
      <p:sp>
        <p:nvSpPr>
          <p:cNvPr id="4" name="TextBox 3">
            <a:extLst>
              <a:ext uri="{FF2B5EF4-FFF2-40B4-BE49-F238E27FC236}">
                <a16:creationId xmlns:a16="http://schemas.microsoft.com/office/drawing/2014/main" id="{CC1AC8B1-F9C6-3E81-97B5-42893D422B0E}"/>
              </a:ext>
            </a:extLst>
          </p:cNvPr>
          <p:cNvSpPr txBox="1"/>
          <p:nvPr/>
        </p:nvSpPr>
        <p:spPr>
          <a:xfrm>
            <a:off x="6832599" y="1443566"/>
            <a:ext cx="4999568" cy="1538883"/>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Actions:</a:t>
            </a:r>
          </a:p>
          <a:p>
            <a:pPr marL="457200" indent="-457200" algn="l">
              <a:buFont typeface="+mj-lt"/>
              <a:buAutoNum type="arabicPeriod"/>
            </a:pPr>
            <a:r>
              <a:rPr lang="en-US" sz="2000" dirty="0">
                <a:gradFill>
                  <a:gsLst>
                    <a:gs pos="2917">
                      <a:schemeClr val="tx1"/>
                    </a:gs>
                    <a:gs pos="30000">
                      <a:schemeClr val="tx1"/>
                    </a:gs>
                  </a:gsLst>
                  <a:lin ang="5400000" scaled="0"/>
                </a:gradFill>
              </a:rPr>
              <a:t>Update the cluster configuration and disable Public FQND with the relative command</a:t>
            </a:r>
          </a:p>
          <a:p>
            <a:pPr marL="457200" indent="-457200" algn="l">
              <a:buFont typeface="+mj-lt"/>
              <a:buAutoNum type="arabicPeriod"/>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6432799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Defender profile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enable and configure Defender for Containers:</a:t>
            </a:r>
          </a:p>
          <a:p>
            <a:pPr marL="342900" indent="-342900">
              <a:buFont typeface="Arial" panose="020B0604020202020204" pitchFamily="34" charset="0"/>
              <a:buChar char="•"/>
            </a:pPr>
            <a:r>
              <a:rPr lang="en-US" sz="2000" dirty="0">
                <a:hlinkClick r:id="rId3"/>
              </a:rPr>
              <a:t>How to enable Microsoft Defender for Containers components - Microsoft Defender for Cloud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99B7AFE2-7000-FE2D-F106-D9D97F53ED83}"/>
              </a:ext>
            </a:extLst>
          </p:cNvPr>
          <p:cNvPicPr>
            <a:picLocks noChangeAspect="1"/>
          </p:cNvPicPr>
          <p:nvPr/>
        </p:nvPicPr>
        <p:blipFill>
          <a:blip r:embed="rId4"/>
          <a:stretch>
            <a:fillRect/>
          </a:stretch>
        </p:blipFill>
        <p:spPr>
          <a:xfrm>
            <a:off x="447591" y="862025"/>
            <a:ext cx="1924217" cy="2145216"/>
          </a:xfrm>
          <a:prstGeom prst="rect">
            <a:avLst/>
          </a:prstGeom>
        </p:spPr>
      </p:pic>
      <p:sp>
        <p:nvSpPr>
          <p:cNvPr id="3" name="TextBox 2">
            <a:extLst>
              <a:ext uri="{FF2B5EF4-FFF2-40B4-BE49-F238E27FC236}">
                <a16:creationId xmlns:a16="http://schemas.microsoft.com/office/drawing/2014/main" id="{82EC50F9-EB4F-8E52-0F36-5CC4039C44A1}"/>
              </a:ext>
            </a:extLst>
          </p:cNvPr>
          <p:cNvSpPr txBox="1"/>
          <p:nvPr/>
        </p:nvSpPr>
        <p:spPr>
          <a:xfrm>
            <a:off x="2407586" y="1443566"/>
            <a:ext cx="3688414" cy="3385542"/>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Identifies misconfigurations in Kubernetes clusters</a:t>
            </a:r>
          </a:p>
          <a:p>
            <a:pPr algn="l"/>
            <a:r>
              <a:rPr lang="en-US" sz="2000" dirty="0">
                <a:gradFill>
                  <a:gsLst>
                    <a:gs pos="2917">
                      <a:schemeClr val="tx1"/>
                    </a:gs>
                    <a:gs pos="30000">
                      <a:schemeClr val="tx1"/>
                    </a:gs>
                  </a:gsLst>
                  <a:lin ang="5400000" scaled="0"/>
                </a:gradFill>
              </a:rPr>
              <a:t>- Vulnerability assessment for images stored in ACR registries and running in AKS clusters</a:t>
            </a:r>
          </a:p>
          <a:p>
            <a:pPr algn="l"/>
            <a:r>
              <a:rPr lang="en-US" sz="2000" dirty="0">
                <a:gradFill>
                  <a:gsLst>
                    <a:gs pos="2917">
                      <a:schemeClr val="tx1"/>
                    </a:gs>
                    <a:gs pos="30000">
                      <a:schemeClr val="tx1"/>
                    </a:gs>
                  </a:gsLst>
                  <a:lin ang="5400000" scaled="0"/>
                </a:gradFill>
              </a:rPr>
              <a:t>- Run-time threat protection for nodes and clusters</a:t>
            </a:r>
          </a:p>
          <a:p>
            <a:pPr algn="l"/>
            <a:r>
              <a:rPr lang="en-US" sz="2000" dirty="0">
                <a:gradFill>
                  <a:gsLst>
                    <a:gs pos="2917">
                      <a:schemeClr val="tx1"/>
                    </a:gs>
                    <a:gs pos="30000">
                      <a:schemeClr val="tx1"/>
                    </a:gs>
                  </a:gsLst>
                  <a:lin ang="5400000" scaled="0"/>
                </a:gradFill>
              </a:rPr>
              <a:t>- Alerts include guidelines to help investigate and mitigate identified threats</a:t>
            </a:r>
          </a:p>
        </p:txBody>
      </p:sp>
      <p:sp>
        <p:nvSpPr>
          <p:cNvPr id="4" name="TextBox 3">
            <a:extLst>
              <a:ext uri="{FF2B5EF4-FFF2-40B4-BE49-F238E27FC236}">
                <a16:creationId xmlns:a16="http://schemas.microsoft.com/office/drawing/2014/main" id="{10BABBCD-107F-EE5C-A7D9-D99C27ED3031}"/>
              </a:ext>
            </a:extLst>
          </p:cNvPr>
          <p:cNvSpPr txBox="1"/>
          <p:nvPr/>
        </p:nvSpPr>
        <p:spPr>
          <a:xfrm>
            <a:off x="6832599" y="1443566"/>
            <a:ext cx="4999568" cy="387798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Enable the Container protection from Defender for Cloud environment settings</a:t>
            </a:r>
          </a:p>
          <a:p>
            <a:pPr marL="457200" indent="-457200" algn="l">
              <a:buFont typeface="+mj-lt"/>
              <a:buAutoNum type="arabicPeriod"/>
            </a:pPr>
            <a:r>
              <a:rPr lang="en-US" sz="1800" dirty="0">
                <a:gradFill>
                  <a:gsLst>
                    <a:gs pos="2917">
                      <a:schemeClr val="tx1"/>
                    </a:gs>
                    <a:gs pos="30000">
                      <a:schemeClr val="tx1"/>
                    </a:gs>
                  </a:gsLst>
                  <a:lin ang="5400000" scaled="0"/>
                </a:gradFill>
              </a:rPr>
              <a:t>Enable the Defender for container components: Agent, Azure Policy, Agentless Discovery, Agentless Vulnerability assessment</a:t>
            </a:r>
          </a:p>
          <a:p>
            <a:pPr marL="457200" indent="-457200" algn="l">
              <a:buFont typeface="+mj-lt"/>
              <a:buAutoNum type="arabicPeriod"/>
            </a:pPr>
            <a:r>
              <a:rPr lang="en-US" sz="1800" dirty="0">
                <a:gradFill>
                  <a:gsLst>
                    <a:gs pos="2917">
                      <a:schemeClr val="tx1"/>
                    </a:gs>
                    <a:gs pos="30000">
                      <a:schemeClr val="tx1"/>
                    </a:gs>
                  </a:gsLst>
                  <a:lin ang="5400000" scaled="0"/>
                </a:gradFill>
              </a:rPr>
              <a:t>Enable the Defender profile on the cluster</a:t>
            </a:r>
          </a:p>
          <a:p>
            <a:pPr marL="457200" indent="-457200" algn="l">
              <a:buFont typeface="+mj-lt"/>
              <a:buAutoNum type="arabicPeriod"/>
            </a:pPr>
            <a:r>
              <a:rPr lang="en-US" sz="1800" dirty="0">
                <a:gradFill>
                  <a:gsLst>
                    <a:gs pos="2917">
                      <a:schemeClr val="tx1"/>
                    </a:gs>
                    <a:gs pos="30000">
                      <a:schemeClr val="tx1"/>
                    </a:gs>
                  </a:gsLst>
                  <a:lin ang="5400000" scaled="0"/>
                </a:gradFill>
              </a:rPr>
              <a:t>Deploy Azure Policy Agent – for data plane security posture</a:t>
            </a:r>
          </a:p>
          <a:p>
            <a:pPr marL="457200" indent="-457200" algn="l">
              <a:buFont typeface="+mj-lt"/>
              <a:buAutoNum type="arabicPeriod"/>
            </a:pPr>
            <a:r>
              <a:rPr lang="en-US" sz="1800" dirty="0">
                <a:gradFill>
                  <a:gsLst>
                    <a:gs pos="2917">
                      <a:schemeClr val="tx1"/>
                    </a:gs>
                    <a:gs pos="30000">
                      <a:schemeClr val="tx1"/>
                    </a:gs>
                  </a:gsLst>
                  <a:lin ang="5400000" scaled="0"/>
                </a:gradFill>
              </a:rPr>
              <a:t>Deploy Defender Agent - for running image vulnerability assessment and workload threat protection</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7352106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Policy add-on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Enable Azure Policy Add-On:</a:t>
            </a:r>
          </a:p>
          <a:p>
            <a:pPr marL="342900" indent="-342900">
              <a:buFont typeface="Arial" panose="020B0604020202020204" pitchFamily="34" charset="0"/>
              <a:buChar char="•"/>
            </a:pPr>
            <a:r>
              <a:rPr lang="en-US" sz="2000" dirty="0">
                <a:hlinkClick r:id="rId3"/>
              </a:rPr>
              <a:t>Learn Azure Policy for Kubernetes - Azure Policy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E66399C8-B4C1-3077-207A-794650ED563B}"/>
              </a:ext>
            </a:extLst>
          </p:cNvPr>
          <p:cNvPicPr>
            <a:picLocks noChangeAspect="1"/>
          </p:cNvPicPr>
          <p:nvPr/>
        </p:nvPicPr>
        <p:blipFill>
          <a:blip r:embed="rId4"/>
          <a:stretch>
            <a:fillRect/>
          </a:stretch>
        </p:blipFill>
        <p:spPr>
          <a:xfrm>
            <a:off x="449709" y="1011198"/>
            <a:ext cx="1886113" cy="2156647"/>
          </a:xfrm>
          <a:prstGeom prst="rect">
            <a:avLst/>
          </a:prstGeom>
        </p:spPr>
      </p:pic>
      <p:sp>
        <p:nvSpPr>
          <p:cNvPr id="3" name="TextBox 2">
            <a:extLst>
              <a:ext uri="{FF2B5EF4-FFF2-40B4-BE49-F238E27FC236}">
                <a16:creationId xmlns:a16="http://schemas.microsoft.com/office/drawing/2014/main" id="{8BDFD52D-EB1A-A52D-A3C2-671F76F2572B}"/>
              </a:ext>
            </a:extLst>
          </p:cNvPr>
          <p:cNvSpPr txBox="1"/>
          <p:nvPr/>
        </p:nvSpPr>
        <p:spPr>
          <a:xfrm>
            <a:off x="2407585" y="1443566"/>
            <a:ext cx="3997448" cy="3693319"/>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 Apply at-scale enforcement and safeguards on your clusters in a centralized, consistent manner by leveraging built-in or custom policy</a:t>
            </a:r>
          </a:p>
          <a:p>
            <a:pPr algn="l"/>
            <a:r>
              <a:rPr lang="en-US" sz="2000" dirty="0">
                <a:gradFill>
                  <a:gsLst>
                    <a:gs pos="2917">
                      <a:schemeClr val="tx1"/>
                    </a:gs>
                    <a:gs pos="30000">
                      <a:schemeClr val="tx1"/>
                    </a:gs>
                  </a:gsLst>
                  <a:lin ang="5400000" scaled="0"/>
                </a:gradFill>
              </a:rPr>
              <a:t>- Azure Policy add-on for Kubernetes allows you to add additional security constraints you'd like to enforce in your cluster and workload architecture (i.e. enforce Pod resource requests and limits or reject a privileged pod)</a:t>
            </a:r>
          </a:p>
        </p:txBody>
      </p:sp>
      <p:sp>
        <p:nvSpPr>
          <p:cNvPr id="4" name="TextBox 3">
            <a:extLst>
              <a:ext uri="{FF2B5EF4-FFF2-40B4-BE49-F238E27FC236}">
                <a16:creationId xmlns:a16="http://schemas.microsoft.com/office/drawing/2014/main" id="{54EB3AEC-F5B2-B90F-CF95-925421DAB4D1}"/>
              </a:ext>
            </a:extLst>
          </p:cNvPr>
          <p:cNvSpPr txBox="1"/>
          <p:nvPr/>
        </p:nvSpPr>
        <p:spPr>
          <a:xfrm>
            <a:off x="6832599" y="1443566"/>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Enable the Azure Policy Add-on the AKS cluster</a:t>
            </a:r>
          </a:p>
          <a:p>
            <a:pPr marL="457200" indent="-457200" algn="l">
              <a:buFont typeface="+mj-lt"/>
              <a:buAutoNum type="arabicPeriod"/>
            </a:pPr>
            <a:r>
              <a:rPr lang="en-US" sz="1800" dirty="0">
                <a:gradFill>
                  <a:gsLst>
                    <a:gs pos="2917">
                      <a:schemeClr val="tx1"/>
                    </a:gs>
                    <a:gs pos="30000">
                      <a:schemeClr val="tx1"/>
                    </a:gs>
                  </a:gsLst>
                  <a:lin ang="5400000" scaled="0"/>
                </a:gradFill>
              </a:rPr>
              <a:t>Leverage built-in Azure Policies or create new definitions</a:t>
            </a:r>
          </a:p>
        </p:txBody>
      </p:sp>
    </p:spTree>
    <p:extLst>
      <p:ext uri="{BB962C8B-B14F-4D97-AF65-F5344CB8AC3E}">
        <p14:creationId xmlns:p14="http://schemas.microsoft.com/office/powerpoint/2010/main" val="12415057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KMS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create clusters in private mode:</a:t>
            </a:r>
          </a:p>
          <a:p>
            <a:pPr marL="342900" indent="-342900">
              <a:buFont typeface="Arial" panose="020B0604020202020204" pitchFamily="34" charset="0"/>
              <a:buChar char="•"/>
            </a:pPr>
            <a:r>
              <a:rPr lang="en-US" sz="2000" dirty="0">
                <a:hlinkClick r:id="rId3"/>
              </a:rPr>
              <a:t>Use Key Management Service (KMS) </a:t>
            </a:r>
            <a:r>
              <a:rPr lang="en-US" sz="2000" dirty="0" err="1">
                <a:hlinkClick r:id="rId3"/>
              </a:rPr>
              <a:t>etcd</a:t>
            </a:r>
            <a:r>
              <a:rPr lang="en-US" sz="2000" dirty="0">
                <a:hlinkClick r:id="rId3"/>
              </a:rPr>
              <a:t> encryption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6" name="Picture 5">
            <a:extLst>
              <a:ext uri="{FF2B5EF4-FFF2-40B4-BE49-F238E27FC236}">
                <a16:creationId xmlns:a16="http://schemas.microsoft.com/office/drawing/2014/main" id="{5A545BA7-905E-7641-61B2-5B0327B6DB9A}"/>
              </a:ext>
            </a:extLst>
          </p:cNvPr>
          <p:cNvPicPr>
            <a:picLocks noChangeAspect="1"/>
          </p:cNvPicPr>
          <p:nvPr/>
        </p:nvPicPr>
        <p:blipFill>
          <a:blip r:embed="rId4"/>
          <a:stretch>
            <a:fillRect/>
          </a:stretch>
        </p:blipFill>
        <p:spPr>
          <a:xfrm>
            <a:off x="431972" y="888478"/>
            <a:ext cx="2030906" cy="2225233"/>
          </a:xfrm>
          <a:prstGeom prst="rect">
            <a:avLst/>
          </a:prstGeom>
        </p:spPr>
      </p:pic>
      <p:sp>
        <p:nvSpPr>
          <p:cNvPr id="3" name="TextBox 2">
            <a:extLst>
              <a:ext uri="{FF2B5EF4-FFF2-40B4-BE49-F238E27FC236}">
                <a16:creationId xmlns:a16="http://schemas.microsoft.com/office/drawing/2014/main" id="{5D691822-7FDB-4CA6-6272-F256EA83F749}"/>
              </a:ext>
            </a:extLst>
          </p:cNvPr>
          <p:cNvSpPr txBox="1"/>
          <p:nvPr/>
        </p:nvSpPr>
        <p:spPr>
          <a:xfrm>
            <a:off x="2407585" y="1443566"/>
            <a:ext cx="3997448" cy="2154436"/>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rPr>
              <a:t>-Provide encryption at rest for secrets stored in </a:t>
            </a:r>
            <a:r>
              <a:rPr lang="en-US" sz="2000" dirty="0" err="1">
                <a:gradFill>
                  <a:gsLst>
                    <a:gs pos="2917">
                      <a:schemeClr val="tx1"/>
                    </a:gs>
                    <a:gs pos="30000">
                      <a:schemeClr val="tx1"/>
                    </a:gs>
                  </a:gsLst>
                  <a:lin ang="5400000" scaled="0"/>
                </a:gradFill>
              </a:rPr>
              <a:t>etcd</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rPr>
              <a:t>-Use a key in Key Vault for </a:t>
            </a:r>
            <a:r>
              <a:rPr lang="en-US" sz="2000" dirty="0" err="1">
                <a:gradFill>
                  <a:gsLst>
                    <a:gs pos="2917">
                      <a:schemeClr val="tx1"/>
                    </a:gs>
                    <a:gs pos="30000">
                      <a:schemeClr val="tx1"/>
                    </a:gs>
                  </a:gsLst>
                  <a:lin ang="5400000" scaled="0"/>
                </a:gradFill>
              </a:rPr>
              <a:t>etcd</a:t>
            </a:r>
            <a:r>
              <a:rPr lang="en-US" sz="2000" dirty="0">
                <a:gradFill>
                  <a:gsLst>
                    <a:gs pos="2917">
                      <a:schemeClr val="tx1"/>
                    </a:gs>
                    <a:gs pos="30000">
                      <a:schemeClr val="tx1"/>
                    </a:gs>
                  </a:gsLst>
                  <a:lin ang="5400000" scaled="0"/>
                </a:gradFill>
              </a:rPr>
              <a:t> encryption</a:t>
            </a:r>
          </a:p>
          <a:p>
            <a:r>
              <a:rPr lang="en-US" sz="2000" dirty="0">
                <a:gradFill>
                  <a:gsLst>
                    <a:gs pos="2917">
                      <a:schemeClr val="tx1"/>
                    </a:gs>
                    <a:gs pos="30000">
                      <a:schemeClr val="tx1"/>
                    </a:gs>
                  </a:gsLst>
                  <a:lin ang="5400000" scaled="0"/>
                </a:gradFill>
              </a:rPr>
              <a:t>-Bring your own keys</a:t>
            </a:r>
          </a:p>
          <a:p>
            <a:pPr algn="l"/>
            <a:r>
              <a:rPr lang="en-US" sz="2000" dirty="0">
                <a:gradFill>
                  <a:gsLst>
                    <a:gs pos="2917">
                      <a:schemeClr val="tx1"/>
                    </a:gs>
                    <a:gs pos="30000">
                      <a:schemeClr val="tx1"/>
                    </a:gs>
                  </a:gsLst>
                  <a:lin ang="5400000" scaled="0"/>
                </a:gradFill>
              </a:rPr>
              <a:t>-Rotate the keys in Key Vault</a:t>
            </a:r>
          </a:p>
        </p:txBody>
      </p:sp>
      <p:sp>
        <p:nvSpPr>
          <p:cNvPr id="4" name="TextBox 3">
            <a:extLst>
              <a:ext uri="{FF2B5EF4-FFF2-40B4-BE49-F238E27FC236}">
                <a16:creationId xmlns:a16="http://schemas.microsoft.com/office/drawing/2014/main" id="{C381F8FE-D941-0ACC-0CD4-7CFC0DA7AA0C}"/>
              </a:ext>
            </a:extLst>
          </p:cNvPr>
          <p:cNvSpPr txBox="1"/>
          <p:nvPr/>
        </p:nvSpPr>
        <p:spPr>
          <a:xfrm>
            <a:off x="6832599" y="1443566"/>
            <a:ext cx="4999568" cy="2215991"/>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Create a KeyVault and a Key</a:t>
            </a:r>
          </a:p>
          <a:p>
            <a:pPr marL="457200" indent="-457200" algn="l">
              <a:buFont typeface="+mj-lt"/>
              <a:buAutoNum type="arabicPeriod"/>
            </a:pPr>
            <a:r>
              <a:rPr lang="en-US" sz="1800" dirty="0">
                <a:gradFill>
                  <a:gsLst>
                    <a:gs pos="2917">
                      <a:schemeClr val="tx1"/>
                    </a:gs>
                    <a:gs pos="30000">
                      <a:schemeClr val="tx1"/>
                    </a:gs>
                  </a:gsLst>
                  <a:lin ang="5400000" scaled="0"/>
                </a:gradFill>
              </a:rPr>
              <a:t>Create a user-assigned managed identity</a:t>
            </a:r>
          </a:p>
          <a:p>
            <a:pPr marL="457200" indent="-457200" algn="l">
              <a:buFont typeface="+mj-lt"/>
              <a:buAutoNum type="arabicPeriod"/>
            </a:pPr>
            <a:r>
              <a:rPr lang="en-US" sz="1800" dirty="0">
                <a:gradFill>
                  <a:gsLst>
                    <a:gs pos="2917">
                      <a:schemeClr val="tx1"/>
                    </a:gs>
                    <a:gs pos="30000">
                      <a:schemeClr val="tx1"/>
                    </a:gs>
                  </a:gsLst>
                  <a:lin ang="5400000" scaled="0"/>
                </a:gradFill>
              </a:rPr>
              <a:t>Assign permission decrypt-encrypt </a:t>
            </a:r>
          </a:p>
          <a:p>
            <a:pPr marL="457200" indent="-457200" algn="l">
              <a:buFont typeface="+mj-lt"/>
              <a:buAutoNum type="arabicPeriod"/>
            </a:pPr>
            <a:r>
              <a:rPr lang="en-US" sz="1800" dirty="0">
                <a:gradFill>
                  <a:gsLst>
                    <a:gs pos="2917">
                      <a:schemeClr val="tx1"/>
                    </a:gs>
                    <a:gs pos="30000">
                      <a:schemeClr val="tx1"/>
                    </a:gs>
                  </a:gsLst>
                  <a:lin ang="5400000" scaled="0"/>
                </a:gradFill>
              </a:rPr>
              <a:t>Update an existing AKS cluster to enable KMS </a:t>
            </a:r>
            <a:r>
              <a:rPr lang="en-US" sz="1800" dirty="0" err="1">
                <a:gradFill>
                  <a:gsLst>
                    <a:gs pos="2917">
                      <a:schemeClr val="tx1"/>
                    </a:gs>
                    <a:gs pos="30000">
                      <a:schemeClr val="tx1"/>
                    </a:gs>
                  </a:gsLst>
                  <a:lin ang="5400000" scaled="0"/>
                </a:gradFill>
              </a:rPr>
              <a:t>etcd</a:t>
            </a:r>
            <a:r>
              <a:rPr lang="en-US" sz="1800" dirty="0">
                <a:gradFill>
                  <a:gsLst>
                    <a:gs pos="2917">
                      <a:schemeClr val="tx1"/>
                    </a:gs>
                    <a:gs pos="30000">
                      <a:schemeClr val="tx1"/>
                    </a:gs>
                  </a:gsLst>
                  <a:lin ang="5400000" scaled="0"/>
                </a:gradFill>
              </a:rPr>
              <a:t> encryption with key vault</a:t>
            </a:r>
          </a:p>
          <a:p>
            <a:pPr marL="457200" indent="-457200" algn="l">
              <a:buFont typeface="+mj-lt"/>
              <a:buAutoNum type="arabicPeriod"/>
            </a:pPr>
            <a:r>
              <a:rPr lang="en-US" sz="1800" dirty="0">
                <a:gradFill>
                  <a:gsLst>
                    <a:gs pos="2917">
                      <a:schemeClr val="tx1"/>
                    </a:gs>
                    <a:gs pos="30000">
                      <a:schemeClr val="tx1"/>
                    </a:gs>
                  </a:gsLst>
                  <a:lin ang="5400000" scaled="0"/>
                </a:gradFill>
              </a:rPr>
              <a:t>Update all secrets for trigger the encryption</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016734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8733EF-2676-4CA7-9F29-E1484C45DCF4}"/>
              </a:ext>
              <a:ext uri="{C183D7F6-B498-43B3-948B-1728B52AA6E4}">
                <adec:decorative xmlns:adec="http://schemas.microsoft.com/office/drawing/2017/decorative" val="1"/>
              </a:ext>
            </a:extLst>
          </p:cNvPr>
          <p:cNvSpPr/>
          <p:nvPr/>
        </p:nvSpPr>
        <p:spPr bwMode="auto">
          <a:xfrm>
            <a:off x="5343099" y="0"/>
            <a:ext cx="6848901" cy="6858000"/>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25584411-A25E-48EE-9F46-19F3DFF6B036}"/>
              </a:ext>
            </a:extLst>
          </p:cNvPr>
          <p:cNvSpPr>
            <a:spLocks noGrp="1"/>
          </p:cNvSpPr>
          <p:nvPr>
            <p:ph type="title"/>
          </p:nvPr>
        </p:nvSpPr>
        <p:spPr>
          <a:xfrm>
            <a:off x="588263" y="421956"/>
            <a:ext cx="4158362" cy="492443"/>
          </a:xfrm>
        </p:spPr>
        <p:txBody>
          <a:bodyPr/>
          <a:lstStyle/>
          <a:p>
            <a:pPr algn="r"/>
            <a:r>
              <a:rPr lang="en-GB" sz="3200" dirty="0">
                <a:solidFill>
                  <a:schemeClr val="tx2">
                    <a:lumMod val="50000"/>
                  </a:schemeClr>
                </a:solidFill>
              </a:rPr>
              <a:t>Agenda</a:t>
            </a:r>
          </a:p>
        </p:txBody>
      </p:sp>
      <p:sp>
        <p:nvSpPr>
          <p:cNvPr id="5" name="Text Placeholder 4">
            <a:extLst>
              <a:ext uri="{FF2B5EF4-FFF2-40B4-BE49-F238E27FC236}">
                <a16:creationId xmlns:a16="http://schemas.microsoft.com/office/drawing/2014/main" id="{01CAA569-9B7A-4890-8970-BBFC9294E753}"/>
              </a:ext>
            </a:extLst>
          </p:cNvPr>
          <p:cNvSpPr>
            <a:spLocks noGrp="1"/>
          </p:cNvSpPr>
          <p:nvPr>
            <p:ph type="body" sz="quarter" idx="10"/>
          </p:nvPr>
        </p:nvSpPr>
        <p:spPr>
          <a:xfrm>
            <a:off x="584200" y="1325740"/>
            <a:ext cx="4162425" cy="4173450"/>
          </a:xfrm>
        </p:spPr>
        <p:txBody>
          <a:bodyPr/>
          <a:lstStyle/>
          <a:p>
            <a:pPr algn="r"/>
            <a:r>
              <a:rPr lang="en-GB" sz="2400" dirty="0">
                <a:latin typeface="+mj-lt"/>
              </a:rPr>
              <a:t>Introduction</a:t>
            </a:r>
            <a:br>
              <a:rPr lang="en-GB" sz="2400" dirty="0">
                <a:latin typeface="+mj-lt"/>
              </a:rPr>
            </a:br>
            <a:r>
              <a:rPr lang="en-GB" sz="1800" dirty="0"/>
              <a:t>You learn about the solution, </a:t>
            </a:r>
          </a:p>
          <a:p>
            <a:pPr algn="r"/>
            <a:r>
              <a:rPr lang="en-GB" sz="1800" dirty="0"/>
              <a:t>we learn about you</a:t>
            </a:r>
            <a:br>
              <a:rPr lang="en-GB" sz="1800" dirty="0"/>
            </a:br>
            <a:endParaRPr lang="en-GB" sz="1800" dirty="0"/>
          </a:p>
          <a:p>
            <a:pPr algn="r"/>
            <a:r>
              <a:rPr lang="en-GB" sz="2400" dirty="0">
                <a:latin typeface="+mj-lt"/>
              </a:rPr>
              <a:t> </a:t>
            </a:r>
          </a:p>
          <a:p>
            <a:pPr algn="r"/>
            <a:r>
              <a:rPr lang="en-GB" sz="2400" dirty="0">
                <a:latin typeface="+mj-lt"/>
              </a:rPr>
              <a:t>Recommendations</a:t>
            </a:r>
            <a:br>
              <a:rPr lang="en-GB" sz="2400" dirty="0">
                <a:latin typeface="+mj-lt"/>
              </a:rPr>
            </a:br>
            <a:r>
              <a:rPr lang="en-GB" sz="1800" dirty="0"/>
              <a:t>Proposed tasks and activities to </a:t>
            </a:r>
          </a:p>
          <a:p>
            <a:pPr algn="r"/>
            <a:r>
              <a:rPr lang="en-GB" sz="1800" dirty="0"/>
              <a:t>improve your AKS Farm</a:t>
            </a:r>
          </a:p>
          <a:p>
            <a:pPr algn="r"/>
            <a:br>
              <a:rPr lang="en-GB" sz="2400" dirty="0"/>
            </a:br>
            <a:r>
              <a:rPr lang="en-GB" sz="2400" dirty="0">
                <a:latin typeface="+mj-lt"/>
              </a:rPr>
              <a:t>Next Steps</a:t>
            </a:r>
            <a:br>
              <a:rPr lang="en-GB" sz="2400" dirty="0">
                <a:latin typeface="+mj-lt"/>
              </a:rPr>
            </a:br>
            <a:r>
              <a:rPr lang="en-GB" sz="1800" dirty="0"/>
              <a:t>Decide how we’re going to </a:t>
            </a:r>
          </a:p>
          <a:p>
            <a:pPr algn="r"/>
            <a:r>
              <a:rPr lang="en-GB" sz="1800" dirty="0"/>
              <a:t>complete the work</a:t>
            </a:r>
            <a:endParaRPr lang="en-GB" sz="2400" dirty="0"/>
          </a:p>
        </p:txBody>
      </p:sp>
      <p:sp>
        <p:nvSpPr>
          <p:cNvPr id="15" name="Text Placeholder 4">
            <a:extLst>
              <a:ext uri="{FF2B5EF4-FFF2-40B4-BE49-F238E27FC236}">
                <a16:creationId xmlns:a16="http://schemas.microsoft.com/office/drawing/2014/main" id="{5099DD84-217A-4D89-9138-546EDE4E0152}"/>
              </a:ext>
            </a:extLst>
          </p:cNvPr>
          <p:cNvSpPr txBox="1">
            <a:spLocks/>
          </p:cNvSpPr>
          <p:nvPr/>
        </p:nvSpPr>
        <p:spPr>
          <a:xfrm>
            <a:off x="5641296" y="1412100"/>
            <a:ext cx="6669658" cy="459818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dirty="0">
                <a:solidFill>
                  <a:schemeClr val="bg1"/>
                </a:solidFill>
              </a:rPr>
              <a:t>AKS Well-Architected Assessment</a:t>
            </a:r>
          </a:p>
          <a:p>
            <a:endParaRPr lang="en-GB" sz="1800" dirty="0">
              <a:solidFill>
                <a:schemeClr val="bg1"/>
              </a:solidFill>
            </a:endParaRPr>
          </a:p>
          <a:p>
            <a:endParaRPr lang="en-GB" sz="1800" dirty="0">
              <a:solidFill>
                <a:schemeClr val="bg1"/>
              </a:solidFill>
            </a:endParaRPr>
          </a:p>
          <a:p>
            <a:r>
              <a:rPr lang="en-GB" sz="1800" dirty="0">
                <a:solidFill>
                  <a:schemeClr val="bg1"/>
                </a:solidFill>
              </a:rPr>
              <a:t>Overview</a:t>
            </a:r>
          </a:p>
          <a:p>
            <a:r>
              <a:rPr lang="en-GB" sz="1800" dirty="0">
                <a:solidFill>
                  <a:schemeClr val="bg1"/>
                </a:solidFill>
              </a:rPr>
              <a:t>Outcomes</a:t>
            </a: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endParaRPr lang="en-GB" sz="1800" dirty="0">
              <a:solidFill>
                <a:schemeClr val="bg1"/>
              </a:solidFill>
            </a:endParaRPr>
          </a:p>
          <a:p>
            <a:r>
              <a:rPr lang="en-GB" sz="1800" dirty="0">
                <a:solidFill>
                  <a:schemeClr val="bg1"/>
                </a:solidFill>
              </a:rPr>
              <a:t>Proposed activities and timeline</a:t>
            </a:r>
          </a:p>
        </p:txBody>
      </p:sp>
    </p:spTree>
    <p:extLst>
      <p:ext uri="{BB962C8B-B14F-4D97-AF65-F5344CB8AC3E}">
        <p14:creationId xmlns:p14="http://schemas.microsoft.com/office/powerpoint/2010/main" val="20568713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RBAC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Enable native Kubernetes or Azure RBAC:</a:t>
            </a:r>
            <a:endParaRPr lang="en-GB" sz="2000" dirty="0">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sz="2000" dirty="0">
                <a:hlinkClick r:id="rId3"/>
              </a:rPr>
              <a:t>Concepts - Access and identity in Azure Kubernetes Services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E36AFE98-0D08-12B5-0D2F-B1C95AB9F4AE}"/>
              </a:ext>
            </a:extLst>
          </p:cNvPr>
          <p:cNvPicPr>
            <a:picLocks noChangeAspect="1"/>
          </p:cNvPicPr>
          <p:nvPr/>
        </p:nvPicPr>
        <p:blipFill>
          <a:blip r:embed="rId4"/>
          <a:stretch>
            <a:fillRect/>
          </a:stretch>
        </p:blipFill>
        <p:spPr>
          <a:xfrm>
            <a:off x="410129" y="872542"/>
            <a:ext cx="1939458" cy="2248095"/>
          </a:xfrm>
          <a:prstGeom prst="rect">
            <a:avLst/>
          </a:prstGeom>
        </p:spPr>
      </p:pic>
      <p:sp>
        <p:nvSpPr>
          <p:cNvPr id="3" name="TextBox 2">
            <a:extLst>
              <a:ext uri="{FF2B5EF4-FFF2-40B4-BE49-F238E27FC236}">
                <a16:creationId xmlns:a16="http://schemas.microsoft.com/office/drawing/2014/main" id="{2B3D47E1-E7EA-7F03-2D25-4B8B68A02420}"/>
              </a:ext>
            </a:extLst>
          </p:cNvPr>
          <p:cNvSpPr txBox="1"/>
          <p:nvPr/>
        </p:nvSpPr>
        <p:spPr>
          <a:xfrm>
            <a:off x="2407585" y="1443566"/>
            <a:ext cx="3997448" cy="923330"/>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rPr>
              <a:t>-Enable Role Based Access Control on Kubernetes Resources</a:t>
            </a:r>
          </a:p>
        </p:txBody>
      </p:sp>
      <p:sp>
        <p:nvSpPr>
          <p:cNvPr id="4" name="TextBox 3">
            <a:extLst>
              <a:ext uri="{FF2B5EF4-FFF2-40B4-BE49-F238E27FC236}">
                <a16:creationId xmlns:a16="http://schemas.microsoft.com/office/drawing/2014/main" id="{DCCA9669-38EB-6B16-6CFC-5522335BB453}"/>
              </a:ext>
            </a:extLst>
          </p:cNvPr>
          <p:cNvSpPr txBox="1"/>
          <p:nvPr/>
        </p:nvSpPr>
        <p:spPr>
          <a:xfrm>
            <a:off x="6832599" y="1443566"/>
            <a:ext cx="4999568" cy="1661993"/>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Update the cluster configuration and enable Kubernetes or Azure RBAC</a:t>
            </a:r>
          </a:p>
          <a:p>
            <a:pPr marL="457200" indent="-457200" algn="l">
              <a:buFont typeface="+mj-lt"/>
              <a:buAutoNum type="arabicPeriod"/>
            </a:pPr>
            <a:r>
              <a:rPr lang="en-US" sz="1800" dirty="0">
                <a:gradFill>
                  <a:gsLst>
                    <a:gs pos="2917">
                      <a:schemeClr val="tx1"/>
                    </a:gs>
                    <a:gs pos="30000">
                      <a:schemeClr val="tx1"/>
                    </a:gs>
                  </a:gsLst>
                  <a:lin ang="5400000" scaled="0"/>
                </a:gradFill>
              </a:rPr>
              <a:t>Assign roles to group/users scoped to cluster, namespace or specific resources</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1917876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Microsoft </a:t>
            </a:r>
            <a:r>
              <a:rPr lang="en-US" sz="2800" b="1" spc="-50" dirty="0" err="1">
                <a:solidFill>
                  <a:schemeClr val="tx1">
                    <a:lumMod val="75000"/>
                  </a:schemeClr>
                </a:solidFill>
                <a:latin typeface="Segoe UI Semibold" panose="020B0702040204020203" pitchFamily="34" charset="0"/>
                <a:cs typeface="Segoe UI Semibold" panose="020B0702040204020203" pitchFamily="34" charset="0"/>
              </a:rPr>
              <a:t>Entra</a:t>
            </a:r>
            <a:r>
              <a:rPr lang="en-US" sz="2800" b="1" spc="-50" dirty="0">
                <a:solidFill>
                  <a:schemeClr val="tx1">
                    <a:lumMod val="75000"/>
                  </a:schemeClr>
                </a:solidFill>
                <a:latin typeface="Segoe UI Semibold" panose="020B0702040204020203" pitchFamily="34" charset="0"/>
                <a:cs typeface="Segoe UI Semibold" panose="020B0702040204020203" pitchFamily="34" charset="0"/>
              </a:rPr>
              <a:t> ID authentication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figure the access to your cluster using </a:t>
            </a:r>
            <a:r>
              <a:rPr lang="en-GB" sz="2000" dirty="0" err="1">
                <a:gradFill>
                  <a:gsLst>
                    <a:gs pos="2917">
                      <a:schemeClr val="tx1"/>
                    </a:gs>
                    <a:gs pos="30000">
                      <a:schemeClr val="tx1"/>
                    </a:gs>
                  </a:gsLst>
                  <a:lin ang="5400000" scaled="0"/>
                </a:gradFill>
              </a:rPr>
              <a:t>Entra</a:t>
            </a:r>
            <a:r>
              <a:rPr lang="en-GB" sz="2000" dirty="0">
                <a:gradFill>
                  <a:gsLst>
                    <a:gs pos="2917">
                      <a:schemeClr val="tx1"/>
                    </a:gs>
                    <a:gs pos="30000">
                      <a:schemeClr val="tx1"/>
                    </a:gs>
                  </a:gsLst>
                  <a:lin ang="5400000" scaled="0"/>
                </a:gradFill>
              </a:rPr>
              <a:t> ID Integration:</a:t>
            </a:r>
          </a:p>
          <a:p>
            <a:pPr marL="342900" indent="-342900">
              <a:buFont typeface="Arial" panose="020B0604020202020204" pitchFamily="34" charset="0"/>
              <a:buChar char="•"/>
            </a:pPr>
            <a:r>
              <a:rPr lang="en-US" sz="2000" dirty="0">
                <a:hlinkClick r:id="rId3"/>
              </a:rPr>
              <a:t>Enable managed identity authentication on Azure Kubernetes Service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FF51A149-66AD-C530-36A5-C09202E57765}"/>
              </a:ext>
            </a:extLst>
          </p:cNvPr>
          <p:cNvPicPr>
            <a:picLocks noChangeAspect="1"/>
          </p:cNvPicPr>
          <p:nvPr/>
        </p:nvPicPr>
        <p:blipFill>
          <a:blip r:embed="rId4"/>
          <a:stretch>
            <a:fillRect/>
          </a:stretch>
        </p:blipFill>
        <p:spPr>
          <a:xfrm>
            <a:off x="338412" y="966442"/>
            <a:ext cx="1992803" cy="2240474"/>
          </a:xfrm>
          <a:prstGeom prst="rect">
            <a:avLst/>
          </a:prstGeom>
        </p:spPr>
      </p:pic>
      <p:sp>
        <p:nvSpPr>
          <p:cNvPr id="3" name="TextBox 2">
            <a:extLst>
              <a:ext uri="{FF2B5EF4-FFF2-40B4-BE49-F238E27FC236}">
                <a16:creationId xmlns:a16="http://schemas.microsoft.com/office/drawing/2014/main" id="{C6BCE7A3-B386-917E-CA74-6617BE47CF5E}"/>
              </a:ext>
            </a:extLst>
          </p:cNvPr>
          <p:cNvSpPr txBox="1"/>
          <p:nvPr/>
        </p:nvSpPr>
        <p:spPr>
          <a:xfrm>
            <a:off x="2407585" y="1443566"/>
            <a:ext cx="4141382" cy="1231106"/>
          </a:xfrm>
          <a:prstGeom prst="rect">
            <a:avLst/>
          </a:prstGeom>
          <a:noFill/>
        </p:spPr>
        <p:txBody>
          <a:bodyPr wrap="square" lIns="0" tIns="0" rIns="0" bIns="0" rtlCol="0">
            <a:spAutoFit/>
          </a:bodyPr>
          <a:lstStyle/>
          <a:p>
            <a:pPr algn="l"/>
            <a:r>
              <a:rPr lang="en-US" sz="2000" b="1" dirty="0">
                <a:gradFill>
                  <a:gsLst>
                    <a:gs pos="2917">
                      <a:schemeClr val="tx1"/>
                    </a:gs>
                    <a:gs pos="30000">
                      <a:schemeClr val="tx1"/>
                    </a:gs>
                  </a:gsLst>
                  <a:lin ang="5400000" scaled="0"/>
                </a:gradFill>
              </a:rPr>
              <a:t>Benefits:</a:t>
            </a:r>
            <a:endParaRPr lang="en-US" sz="2000" dirty="0">
              <a:gradFill>
                <a:gsLst>
                  <a:gs pos="2917">
                    <a:schemeClr val="tx1"/>
                  </a:gs>
                  <a:gs pos="30000">
                    <a:schemeClr val="tx1"/>
                  </a:gs>
                </a:gsLst>
                <a:lin ang="5400000" scaled="0"/>
              </a:gradFill>
            </a:endParaRPr>
          </a:p>
          <a:p>
            <a:pPr algn="l"/>
            <a:r>
              <a:rPr lang="en-US" sz="2000" dirty="0">
                <a:gradFill>
                  <a:gsLst>
                    <a:gs pos="2917">
                      <a:schemeClr val="tx1"/>
                    </a:gs>
                    <a:gs pos="30000">
                      <a:schemeClr val="tx1"/>
                    </a:gs>
                  </a:gsLst>
                  <a:lin ang="5400000" scaled="0"/>
                </a:gradFill>
              </a:rPr>
              <a:t>- Use Microsoft </a:t>
            </a:r>
            <a:r>
              <a:rPr lang="en-US" sz="2000" dirty="0" err="1">
                <a:gradFill>
                  <a:gsLst>
                    <a:gs pos="2917">
                      <a:schemeClr val="tx1"/>
                    </a:gs>
                    <a:gs pos="30000">
                      <a:schemeClr val="tx1"/>
                    </a:gs>
                  </a:gsLst>
                  <a:lin ang="5400000" scaled="0"/>
                </a:gradFill>
              </a:rPr>
              <a:t>Entra</a:t>
            </a:r>
            <a:r>
              <a:rPr lang="en-US" sz="2000" dirty="0">
                <a:gradFill>
                  <a:gsLst>
                    <a:gs pos="2917">
                      <a:schemeClr val="tx1"/>
                    </a:gs>
                    <a:gs pos="30000">
                      <a:schemeClr val="tx1"/>
                    </a:gs>
                  </a:gsLst>
                  <a:lin ang="5400000" scaled="0"/>
                </a:gradFill>
              </a:rPr>
              <a:t> ID as Identity Provider</a:t>
            </a:r>
          </a:p>
          <a:p>
            <a:pPr algn="l"/>
            <a:r>
              <a:rPr lang="en-US" sz="2000" dirty="0">
                <a:gradFill>
                  <a:gsLst>
                    <a:gs pos="2917">
                      <a:schemeClr val="tx1"/>
                    </a:gs>
                    <a:gs pos="30000">
                      <a:schemeClr val="tx1"/>
                    </a:gs>
                  </a:gsLst>
                  <a:lin ang="5400000" scaled="0"/>
                </a:gradFill>
              </a:rPr>
              <a:t>- Authenticate existing groups/users</a:t>
            </a:r>
          </a:p>
        </p:txBody>
      </p:sp>
      <p:sp>
        <p:nvSpPr>
          <p:cNvPr id="4" name="TextBox 3">
            <a:extLst>
              <a:ext uri="{FF2B5EF4-FFF2-40B4-BE49-F238E27FC236}">
                <a16:creationId xmlns:a16="http://schemas.microsoft.com/office/drawing/2014/main" id="{7A9D9CE6-22B8-B20A-AB5B-8FE028BA1EC3}"/>
              </a:ext>
            </a:extLst>
          </p:cNvPr>
          <p:cNvSpPr txBox="1"/>
          <p:nvPr/>
        </p:nvSpPr>
        <p:spPr>
          <a:xfrm>
            <a:off x="6832599" y="1443566"/>
            <a:ext cx="4999568" cy="2215991"/>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r>
              <a:rPr lang="en-US" sz="1800" dirty="0">
                <a:gradFill>
                  <a:gsLst>
                    <a:gs pos="2917">
                      <a:schemeClr val="tx1"/>
                    </a:gs>
                    <a:gs pos="30000">
                      <a:schemeClr val="tx1"/>
                    </a:gs>
                  </a:gsLst>
                  <a:lin ang="5400000" scaled="0"/>
                </a:gradFill>
              </a:rPr>
              <a:t>Configure the cluster Authentication</a:t>
            </a:r>
          </a:p>
          <a:p>
            <a:pPr marL="457200" indent="-457200" algn="l">
              <a:buFont typeface="+mj-lt"/>
              <a:buAutoNum type="arabicPeriod"/>
            </a:pPr>
            <a:r>
              <a:rPr lang="en-US" sz="1800" dirty="0">
                <a:gradFill>
                  <a:gsLst>
                    <a:gs pos="2917">
                      <a:schemeClr val="tx1"/>
                    </a:gs>
                    <a:gs pos="30000">
                      <a:schemeClr val="tx1"/>
                    </a:gs>
                  </a:gsLst>
                  <a:lin ang="5400000" scaled="0"/>
                </a:gradFill>
              </a:rPr>
              <a:t>Choose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 Authentication</a:t>
            </a:r>
          </a:p>
          <a:p>
            <a:pPr marL="457200" indent="-457200" algn="l">
              <a:buFont typeface="+mj-lt"/>
              <a:buAutoNum type="arabicPeriod"/>
            </a:pPr>
            <a:r>
              <a:rPr lang="en-US" sz="1800" dirty="0">
                <a:gradFill>
                  <a:gsLst>
                    <a:gs pos="2917">
                      <a:schemeClr val="tx1"/>
                    </a:gs>
                    <a:gs pos="30000">
                      <a:schemeClr val="tx1"/>
                    </a:gs>
                  </a:gsLst>
                  <a:lin ang="5400000" scaled="0"/>
                </a:gradFill>
              </a:rPr>
              <a:t>Assign roles to the existing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 group/users</a:t>
            </a:r>
          </a:p>
          <a:p>
            <a:pPr marL="457200" indent="-457200" algn="l">
              <a:buFont typeface="+mj-lt"/>
              <a:buAutoNum type="arabicPeriod"/>
            </a:pPr>
            <a:r>
              <a:rPr lang="en-US" sz="1800" dirty="0">
                <a:gradFill>
                  <a:gsLst>
                    <a:gs pos="2917">
                      <a:schemeClr val="tx1"/>
                    </a:gs>
                    <a:gs pos="30000">
                      <a:schemeClr val="tx1"/>
                    </a:gs>
                  </a:gsLst>
                  <a:lin ang="5400000" scaled="0"/>
                </a:gradFill>
              </a:rPr>
              <a:t>Leverage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entities for access to the cluster or automation (i.e. CI/CD)</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3376743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b="1" spc="-50" dirty="0">
                <a:solidFill>
                  <a:schemeClr val="tx1">
                    <a:lumMod val="75000"/>
                  </a:schemeClr>
                </a:solidFill>
                <a:latin typeface="Segoe UI Semibold" panose="020B0702040204020203" pitchFamily="34" charset="0"/>
                <a:cs typeface="Segoe UI Semibold" panose="020B0702040204020203" pitchFamily="34" charset="0"/>
              </a:rPr>
              <a:t>AKS Assessment – Microsoft </a:t>
            </a:r>
            <a:r>
              <a:rPr lang="en-US" sz="2400" b="1" dirty="0" err="1">
                <a:solidFill>
                  <a:schemeClr val="tx1">
                    <a:lumMod val="75000"/>
                  </a:schemeClr>
                </a:solidFill>
                <a:latin typeface="Segoe UI Semibold" panose="020B0702040204020203" pitchFamily="34" charset="0"/>
                <a:cs typeface="Segoe UI Semibold" panose="020B0702040204020203" pitchFamily="34" charset="0"/>
              </a:rPr>
              <a:t>Entra</a:t>
            </a:r>
            <a:r>
              <a:rPr lang="en-US" sz="2400" b="1" dirty="0">
                <a:solidFill>
                  <a:schemeClr val="tx1">
                    <a:lumMod val="75000"/>
                  </a:schemeClr>
                </a:solidFill>
                <a:latin typeface="Segoe UI Semibold" panose="020B0702040204020203" pitchFamily="34" charset="0"/>
                <a:cs typeface="Segoe UI Semibold" panose="020B0702040204020203" pitchFamily="34" charset="0"/>
              </a:rPr>
              <a:t> </a:t>
            </a:r>
            <a:r>
              <a:rPr lang="en-US" sz="2400" b="1" spc="-50" dirty="0">
                <a:solidFill>
                  <a:schemeClr val="tx1">
                    <a:lumMod val="75000"/>
                  </a:schemeClr>
                </a:solidFill>
                <a:latin typeface="Segoe UI Semibold" panose="020B0702040204020203" pitchFamily="34" charset="0"/>
                <a:cs typeface="Segoe UI Semibold" panose="020B0702040204020203" pitchFamily="34" charset="0"/>
              </a:rPr>
              <a:t>Workload Identity should be enabled</a:t>
            </a:r>
            <a:endParaRPr lang="en-US" sz="24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104644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figure Microsoft </a:t>
            </a:r>
            <a:r>
              <a:rPr lang="en-GB" sz="2000" dirty="0" err="1">
                <a:gradFill>
                  <a:gsLst>
                    <a:gs pos="2917">
                      <a:schemeClr val="tx1"/>
                    </a:gs>
                    <a:gs pos="30000">
                      <a:schemeClr val="tx1"/>
                    </a:gs>
                  </a:gsLst>
                  <a:lin ang="5400000" scaled="0"/>
                </a:gradFill>
              </a:rPr>
              <a:t>Entra</a:t>
            </a:r>
            <a:r>
              <a:rPr lang="en-GB" sz="2000" dirty="0">
                <a:gradFill>
                  <a:gsLst>
                    <a:gs pos="2917">
                      <a:schemeClr val="tx1"/>
                    </a:gs>
                    <a:gs pos="30000">
                      <a:schemeClr val="tx1"/>
                    </a:gs>
                  </a:gsLst>
                  <a:lin ang="5400000" scaled="0"/>
                </a:gradFill>
              </a:rPr>
              <a:t> Workload Identities in your cluster:</a:t>
            </a:r>
          </a:p>
          <a:p>
            <a:pPr marL="342900" indent="-342900">
              <a:buFont typeface="Arial" panose="020B0604020202020204" pitchFamily="34" charset="0"/>
              <a:buChar char="•"/>
            </a:pPr>
            <a:r>
              <a:rPr lang="en-US" sz="1600" dirty="0">
                <a:hlinkClick r:id="rId3"/>
              </a:rPr>
              <a:t>Use a Microsoft </a:t>
            </a:r>
            <a:r>
              <a:rPr lang="en-US" sz="1600" dirty="0" err="1">
                <a:hlinkClick r:id="rId3"/>
              </a:rPr>
              <a:t>Entra</a:t>
            </a:r>
            <a:r>
              <a:rPr lang="en-US" sz="1600" dirty="0">
                <a:hlinkClick r:id="rId3"/>
              </a:rPr>
              <a:t> Workload ID on Azure Kubernetes Service (AKS) - Azure Kubernetes Service | Microsoft Learn</a:t>
            </a:r>
            <a:endParaRPr lang="en-US" sz="1600" dirty="0"/>
          </a:p>
          <a:p>
            <a:pPr marL="342900" indent="-342900">
              <a:buFont typeface="Arial" panose="020B0604020202020204" pitchFamily="34" charset="0"/>
              <a:buChar char="•"/>
            </a:pPr>
            <a:r>
              <a:rPr lang="en-US" sz="1600" dirty="0">
                <a:hlinkClick r:id="rId4"/>
              </a:rPr>
              <a:t>Tutorial - Use a workload identity with an application o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2000FFA5-5687-B083-0236-39977642CAD5}"/>
              </a:ext>
            </a:extLst>
          </p:cNvPr>
          <p:cNvPicPr>
            <a:picLocks noChangeAspect="1"/>
          </p:cNvPicPr>
          <p:nvPr/>
        </p:nvPicPr>
        <p:blipFill>
          <a:blip r:embed="rId5"/>
          <a:stretch>
            <a:fillRect/>
          </a:stretch>
        </p:blipFill>
        <p:spPr>
          <a:xfrm>
            <a:off x="293205" y="1011198"/>
            <a:ext cx="2065199" cy="2183319"/>
          </a:xfrm>
          <a:prstGeom prst="rect">
            <a:avLst/>
          </a:prstGeom>
        </p:spPr>
      </p:pic>
      <p:sp>
        <p:nvSpPr>
          <p:cNvPr id="3" name="TextBox 2">
            <a:extLst>
              <a:ext uri="{FF2B5EF4-FFF2-40B4-BE49-F238E27FC236}">
                <a16:creationId xmlns:a16="http://schemas.microsoft.com/office/drawing/2014/main" id="{DEBC29AA-31EB-6889-0C84-FF6216DA6193}"/>
              </a:ext>
            </a:extLst>
          </p:cNvPr>
          <p:cNvSpPr txBox="1"/>
          <p:nvPr/>
        </p:nvSpPr>
        <p:spPr>
          <a:xfrm>
            <a:off x="2407585" y="1443566"/>
            <a:ext cx="4141382" cy="3662541"/>
          </a:xfrm>
          <a:prstGeom prst="rect">
            <a:avLst/>
          </a:prstGeom>
          <a:noFill/>
        </p:spPr>
        <p:txBody>
          <a:bodyPr wrap="square" lIns="0" tIns="0" rIns="0" bIns="0" rtlCol="0">
            <a:spAutoFit/>
          </a:bodyPr>
          <a:lstStyle/>
          <a:p>
            <a:pPr algn="l"/>
            <a:r>
              <a:rPr lang="en-US" sz="1700" b="1" dirty="0">
                <a:gradFill>
                  <a:gsLst>
                    <a:gs pos="2917">
                      <a:schemeClr val="tx1"/>
                    </a:gs>
                    <a:gs pos="30000">
                      <a:schemeClr val="tx1"/>
                    </a:gs>
                  </a:gsLst>
                  <a:lin ang="5400000" scaled="0"/>
                </a:gradFill>
              </a:rPr>
              <a:t>Benefits:</a:t>
            </a:r>
            <a:endParaRPr lang="en-US" sz="1700" dirty="0">
              <a:gradFill>
                <a:gsLst>
                  <a:gs pos="2917">
                    <a:schemeClr val="tx1"/>
                  </a:gs>
                  <a:gs pos="30000">
                    <a:schemeClr val="tx1"/>
                  </a:gs>
                </a:gsLst>
                <a:lin ang="5400000" scaled="0"/>
              </a:gradFill>
            </a:endParaRPr>
          </a:p>
          <a:p>
            <a:pPr algn="l"/>
            <a:r>
              <a:rPr lang="en-US" sz="1700" dirty="0">
                <a:gradFill>
                  <a:gsLst>
                    <a:gs pos="2917">
                      <a:schemeClr val="tx1"/>
                    </a:gs>
                    <a:gs pos="30000">
                      <a:schemeClr val="tx1"/>
                    </a:gs>
                  </a:gsLst>
                  <a:lin ang="5400000" scaled="0"/>
                </a:gradFill>
              </a:rPr>
              <a:t>- Replacement of Pod Identity (deprecated)</a:t>
            </a:r>
          </a:p>
          <a:p>
            <a:pPr algn="l"/>
            <a:r>
              <a:rPr lang="en-US" sz="1700" dirty="0">
                <a:gradFill>
                  <a:gsLst>
                    <a:gs pos="2917">
                      <a:schemeClr val="tx1"/>
                    </a:gs>
                    <a:gs pos="30000">
                      <a:schemeClr val="tx1"/>
                    </a:gs>
                  </a:gsLst>
                  <a:lin ang="5400000" scaled="0"/>
                </a:gradFill>
              </a:rPr>
              <a:t>- Leverages OIDC federation and Kubernetes native capabilities to federate with any external identity providers </a:t>
            </a:r>
          </a:p>
          <a:p>
            <a:pPr algn="l"/>
            <a:r>
              <a:rPr lang="en-US" sz="1700" dirty="0">
                <a:gradFill>
                  <a:gsLst>
                    <a:gs pos="2917">
                      <a:schemeClr val="tx1"/>
                    </a:gs>
                    <a:gs pos="30000">
                      <a:schemeClr val="tx1"/>
                    </a:gs>
                  </a:gsLst>
                  <a:lin ang="5400000" scaled="0"/>
                </a:gradFill>
              </a:rPr>
              <a:t>- Associates </a:t>
            </a:r>
            <a:r>
              <a:rPr lang="en-US" sz="1700" dirty="0" err="1">
                <a:gradFill>
                  <a:gsLst>
                    <a:gs pos="2917">
                      <a:schemeClr val="tx1"/>
                    </a:gs>
                    <a:gs pos="30000">
                      <a:schemeClr val="tx1"/>
                    </a:gs>
                  </a:gsLst>
                  <a:lin ang="5400000" scaled="0"/>
                </a:gradFill>
              </a:rPr>
              <a:t>Micorosoft</a:t>
            </a:r>
            <a:r>
              <a:rPr lang="en-US" sz="1700" dirty="0">
                <a:gradFill>
                  <a:gsLst>
                    <a:gs pos="2917">
                      <a:schemeClr val="tx1"/>
                    </a:gs>
                    <a:gs pos="30000">
                      <a:schemeClr val="tx1"/>
                    </a:gs>
                  </a:gsLst>
                  <a:lin ang="5400000" scaled="0"/>
                </a:gradFill>
              </a:rPr>
              <a:t> </a:t>
            </a:r>
            <a:r>
              <a:rPr lang="en-US" sz="1700" dirty="0" err="1">
                <a:gradFill>
                  <a:gsLst>
                    <a:gs pos="2917">
                      <a:schemeClr val="tx1"/>
                    </a:gs>
                    <a:gs pos="30000">
                      <a:schemeClr val="tx1"/>
                    </a:gs>
                  </a:gsLst>
                  <a:lin ang="5400000" scaled="0"/>
                </a:gradFill>
              </a:rPr>
              <a:t>Entra</a:t>
            </a:r>
            <a:r>
              <a:rPr lang="en-US" sz="1700" dirty="0">
                <a:gradFill>
                  <a:gsLst>
                    <a:gs pos="2917">
                      <a:schemeClr val="tx1"/>
                    </a:gs>
                    <a:gs pos="30000">
                      <a:schemeClr val="tx1"/>
                    </a:gs>
                  </a:gsLst>
                  <a:lin ang="5400000" scaled="0"/>
                </a:gradFill>
              </a:rPr>
              <a:t> application credential or managed identity to workloads</a:t>
            </a:r>
          </a:p>
          <a:p>
            <a:pPr algn="l"/>
            <a:r>
              <a:rPr lang="en-US" sz="1700" dirty="0">
                <a:gradFill>
                  <a:gsLst>
                    <a:gs pos="2917">
                      <a:schemeClr val="tx1"/>
                    </a:gs>
                    <a:gs pos="30000">
                      <a:schemeClr val="tx1"/>
                    </a:gs>
                  </a:gsLst>
                  <a:lin ang="5400000" scaled="0"/>
                </a:gradFill>
              </a:rPr>
              <a:t>- Allows access to Microsoft </a:t>
            </a:r>
            <a:r>
              <a:rPr lang="en-US" sz="1700" dirty="0" err="1">
                <a:gradFill>
                  <a:gsLst>
                    <a:gs pos="2917">
                      <a:schemeClr val="tx1"/>
                    </a:gs>
                    <a:gs pos="30000">
                      <a:schemeClr val="tx1"/>
                    </a:gs>
                  </a:gsLst>
                  <a:lin ang="5400000" scaled="0"/>
                </a:gradFill>
              </a:rPr>
              <a:t>Entra</a:t>
            </a:r>
            <a:r>
              <a:rPr lang="en-US" sz="1700" dirty="0">
                <a:gradFill>
                  <a:gsLst>
                    <a:gs pos="2917">
                      <a:schemeClr val="tx1"/>
                    </a:gs>
                    <a:gs pos="30000">
                      <a:schemeClr val="tx1"/>
                    </a:gs>
                  </a:gsLst>
                  <a:lin ang="5400000" scaled="0"/>
                </a:gradFill>
              </a:rPr>
              <a:t> protected resources (i.e. Graph, KeyVault, etc.)</a:t>
            </a:r>
          </a:p>
          <a:p>
            <a:pPr algn="l"/>
            <a:r>
              <a:rPr lang="en-US" sz="1700" dirty="0">
                <a:gradFill>
                  <a:gsLst>
                    <a:gs pos="2917">
                      <a:schemeClr val="tx1"/>
                    </a:gs>
                    <a:gs pos="30000">
                      <a:schemeClr val="tx1"/>
                    </a:gs>
                  </a:gsLst>
                  <a:lin ang="5400000" scaled="0"/>
                </a:gradFill>
              </a:rPr>
              <a:t>- Seamless authenticate and access to Azure Resources with MSAL or Azure Identity libraries</a:t>
            </a:r>
          </a:p>
        </p:txBody>
      </p:sp>
      <p:sp>
        <p:nvSpPr>
          <p:cNvPr id="4" name="TextBox 3">
            <a:extLst>
              <a:ext uri="{FF2B5EF4-FFF2-40B4-BE49-F238E27FC236}">
                <a16:creationId xmlns:a16="http://schemas.microsoft.com/office/drawing/2014/main" id="{FB10BF7E-DC8C-4DDE-CC11-DF52160AA3A7}"/>
              </a:ext>
            </a:extLst>
          </p:cNvPr>
          <p:cNvSpPr txBox="1"/>
          <p:nvPr/>
        </p:nvSpPr>
        <p:spPr>
          <a:xfrm>
            <a:off x="6832599" y="1443566"/>
            <a:ext cx="4999568" cy="3046988"/>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buFont typeface="+mj-lt"/>
              <a:buAutoNum type="arabicPeriod"/>
            </a:pPr>
            <a:r>
              <a:rPr lang="en-US" sz="1800" dirty="0">
                <a:gradFill>
                  <a:gsLst>
                    <a:gs pos="2917">
                      <a:schemeClr val="tx1"/>
                    </a:gs>
                    <a:gs pos="30000">
                      <a:schemeClr val="tx1"/>
                    </a:gs>
                  </a:gsLst>
                  <a:lin ang="5400000" scaled="0"/>
                </a:gradFill>
              </a:rPr>
              <a:t>Enable Workload Identity and OIDC issuer on the cluster</a:t>
            </a:r>
          </a:p>
          <a:p>
            <a:pPr marL="457200" indent="-457200" algn="l">
              <a:buFont typeface="+mj-lt"/>
              <a:buAutoNum type="arabicPeriod"/>
            </a:pPr>
            <a:r>
              <a:rPr lang="en-US" sz="1800" dirty="0">
                <a:gradFill>
                  <a:gsLst>
                    <a:gs pos="2917">
                      <a:schemeClr val="tx1"/>
                    </a:gs>
                    <a:gs pos="30000">
                      <a:schemeClr val="tx1"/>
                    </a:gs>
                  </a:gsLst>
                  <a:lin ang="5400000" scaled="0"/>
                </a:gradFill>
              </a:rPr>
              <a:t>Register a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application that represents the Workload</a:t>
            </a:r>
          </a:p>
          <a:p>
            <a:pPr marL="457200" indent="-457200" algn="l">
              <a:buFont typeface="+mj-lt"/>
              <a:buAutoNum type="arabicPeriod"/>
            </a:pPr>
            <a:r>
              <a:rPr lang="en-US" sz="1800" dirty="0">
                <a:gradFill>
                  <a:gsLst>
                    <a:gs pos="2917">
                      <a:schemeClr val="tx1"/>
                    </a:gs>
                    <a:gs pos="30000">
                      <a:schemeClr val="tx1"/>
                    </a:gs>
                  </a:gsLst>
                  <a:lin ang="5400000" scaled="0"/>
                </a:gradFill>
              </a:rPr>
              <a:t>Establish federated identity credential</a:t>
            </a:r>
          </a:p>
          <a:p>
            <a:pPr marL="457200" indent="-457200" algn="l">
              <a:buFont typeface="+mj-lt"/>
              <a:buAutoNum type="arabicPeriod"/>
            </a:pPr>
            <a:r>
              <a:rPr lang="en-US" sz="1800" dirty="0">
                <a:gradFill>
                  <a:gsLst>
                    <a:gs pos="2917">
                      <a:schemeClr val="tx1"/>
                    </a:gs>
                    <a:gs pos="30000">
                      <a:schemeClr val="tx1"/>
                    </a:gs>
                  </a:gsLst>
                  <a:lin ang="5400000" scaled="0"/>
                </a:gradFill>
              </a:rPr>
              <a:t>Assign to the identity roles on resources</a:t>
            </a:r>
          </a:p>
          <a:p>
            <a:pPr marL="457200" indent="-457200" algn="l">
              <a:buFont typeface="+mj-lt"/>
              <a:buAutoNum type="arabicPeriod"/>
            </a:pPr>
            <a:r>
              <a:rPr lang="en-US" sz="1800" dirty="0">
                <a:gradFill>
                  <a:gsLst>
                    <a:gs pos="2917">
                      <a:schemeClr val="tx1"/>
                    </a:gs>
                    <a:gs pos="30000">
                      <a:schemeClr val="tx1"/>
                    </a:gs>
                  </a:gsLst>
                  <a:lin ang="5400000" scaled="0"/>
                </a:gradFill>
              </a:rPr>
              <a:t>Configure Service Account</a:t>
            </a:r>
          </a:p>
          <a:p>
            <a:pPr marL="457200" indent="-457200" algn="l">
              <a:buFont typeface="+mj-lt"/>
              <a:buAutoNum type="arabicPeriod"/>
            </a:pPr>
            <a:r>
              <a:rPr lang="en-US" sz="1800" dirty="0">
                <a:gradFill>
                  <a:gsLst>
                    <a:gs pos="2917">
                      <a:schemeClr val="tx1"/>
                    </a:gs>
                    <a:gs pos="30000">
                      <a:schemeClr val="tx1"/>
                    </a:gs>
                  </a:gsLst>
                  <a:lin ang="5400000" scaled="0"/>
                </a:gradFill>
              </a:rPr>
              <a:t>Use the service account with the Pod</a:t>
            </a:r>
          </a:p>
          <a:p>
            <a:pPr marL="457200" indent="-457200" algn="l">
              <a:buFont typeface="+mj-lt"/>
              <a:buAutoNum type="arabicPeriod"/>
            </a:pPr>
            <a:r>
              <a:rPr lang="en-US" sz="1800" dirty="0">
                <a:gradFill>
                  <a:gsLst>
                    <a:gs pos="2917">
                      <a:schemeClr val="tx1"/>
                    </a:gs>
                    <a:gs pos="30000">
                      <a:schemeClr val="tx1"/>
                    </a:gs>
                  </a:gsLst>
                  <a:lin ang="5400000" scaled="0"/>
                </a:gradFill>
              </a:rPr>
              <a:t>Deploy the workload</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0527656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Health Assessment – AAD </a:t>
            </a:r>
            <a:r>
              <a:rPr lang="en-US" sz="2800" b="1" spc="-50" dirty="0" err="1">
                <a:solidFill>
                  <a:schemeClr val="tx1">
                    <a:lumMod val="75000"/>
                  </a:schemeClr>
                </a:solidFill>
                <a:latin typeface="Segoe UI Semibold" panose="020B0702040204020203" pitchFamily="34" charset="0"/>
                <a:cs typeface="Segoe UI Semibold" panose="020B0702040204020203" pitchFamily="34" charset="0"/>
              </a:rPr>
              <a:t>PodIdentity</a:t>
            </a:r>
            <a:r>
              <a:rPr lang="en-US" sz="2800" b="1" spc="-50" dirty="0">
                <a:solidFill>
                  <a:schemeClr val="tx1">
                    <a:lumMod val="75000"/>
                  </a:schemeClr>
                </a:solidFill>
                <a:latin typeface="Segoe UI Semibold" panose="020B0702040204020203" pitchFamily="34" charset="0"/>
                <a:cs typeface="Segoe UI Semibold" panose="020B0702040204020203" pitchFamily="34" charset="0"/>
              </a:rPr>
              <a:t> should not be us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463879" y="5223470"/>
            <a:ext cx="10790937" cy="1231106"/>
          </a:xfrm>
          <a:prstGeom prst="rect">
            <a:avLst/>
          </a:prstGeom>
          <a:noFill/>
        </p:spPr>
        <p:txBody>
          <a:bodyPr wrap="square" lIns="0" tIns="0" rIns="0" bIns="0" rtlCol="0">
            <a:spAutoFit/>
          </a:bodyPr>
          <a:lstStyle/>
          <a:p>
            <a:pPr algn="l"/>
            <a:r>
              <a:rPr lang="en-GB" sz="2000" b="0" i="0" dirty="0">
                <a:solidFill>
                  <a:srgbClr val="161616"/>
                </a:solidFill>
                <a:effectLst/>
                <a:latin typeface="Segoe UI" panose="020B0502040204020203" pitchFamily="34" charset="0"/>
              </a:rPr>
              <a:t>The open source Microsoft </a:t>
            </a:r>
            <a:r>
              <a:rPr lang="en-GB" sz="2000" b="0" i="0" dirty="0" err="1">
                <a:solidFill>
                  <a:srgbClr val="161616"/>
                </a:solidFill>
                <a:effectLst/>
                <a:latin typeface="Segoe UI" panose="020B0502040204020203" pitchFamily="34" charset="0"/>
              </a:rPr>
              <a:t>Entra</a:t>
            </a:r>
            <a:r>
              <a:rPr lang="en-GB" sz="2000" b="0" i="0" dirty="0">
                <a:solidFill>
                  <a:srgbClr val="161616"/>
                </a:solidFill>
                <a:effectLst/>
                <a:latin typeface="Segoe UI" panose="020B0502040204020203" pitchFamily="34" charset="0"/>
              </a:rPr>
              <a:t> pod-managed identity (preview) in Azure Kubernetes Service has been deprecated as of 10/24/2022, and the project will be archived in Sept. 2023. </a:t>
            </a:r>
            <a:r>
              <a:rPr lang="en-GB" sz="2000" dirty="0">
                <a:gradFill>
                  <a:gsLst>
                    <a:gs pos="2917">
                      <a:schemeClr val="tx1"/>
                    </a:gs>
                    <a:gs pos="30000">
                      <a:schemeClr val="tx1"/>
                    </a:gs>
                  </a:gsLst>
                  <a:lin ang="5400000" scaled="0"/>
                </a:gradFill>
              </a:rPr>
              <a:t>:</a:t>
            </a:r>
          </a:p>
          <a:p>
            <a:pPr marL="342900" indent="-342900">
              <a:buFont typeface="Arial" panose="020B0604020202020204" pitchFamily="34" charset="0"/>
              <a:buChar char="•"/>
            </a:pPr>
            <a:r>
              <a:rPr lang="en-US" sz="2000" dirty="0">
                <a:hlinkClick r:id="rId3"/>
              </a:rPr>
              <a:t>Use Microsoft </a:t>
            </a:r>
            <a:r>
              <a:rPr lang="en-US" sz="2000" dirty="0" err="1">
                <a:hlinkClick r:id="rId3"/>
              </a:rPr>
              <a:t>Entra</a:t>
            </a:r>
            <a:r>
              <a:rPr lang="en-US" sz="2000" dirty="0">
                <a:hlinkClick r:id="rId3"/>
              </a:rPr>
              <a:t> pod-managed identities in Azure Kubernetes Service (Preview) - Azure Kubernetes Service | Microsoft Learn (deprecated)</a:t>
            </a:r>
            <a:endParaRPr lang="en-GB" sz="2000" dirty="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4E41644C-8998-86ED-3C45-A0194F4899B9}"/>
              </a:ext>
            </a:extLst>
          </p:cNvPr>
          <p:cNvSpPr txBox="1"/>
          <p:nvPr/>
        </p:nvSpPr>
        <p:spPr>
          <a:xfrm>
            <a:off x="2407585" y="1443566"/>
            <a:ext cx="4141382" cy="553998"/>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Benefits:</a:t>
            </a:r>
            <a:endParaRPr lang="en-US" sz="1800" dirty="0">
              <a:gradFill>
                <a:gsLst>
                  <a:gs pos="2917">
                    <a:schemeClr val="tx1"/>
                  </a:gs>
                  <a:gs pos="30000">
                    <a:schemeClr val="tx1"/>
                  </a:gs>
                </a:gsLst>
                <a:lin ang="5400000" scaled="0"/>
              </a:gradFill>
            </a:endParaRPr>
          </a:p>
          <a:p>
            <a:pPr algn="l"/>
            <a:r>
              <a:rPr lang="en-US" sz="1800" dirty="0">
                <a:gradFill>
                  <a:gsLst>
                    <a:gs pos="2917">
                      <a:schemeClr val="tx1"/>
                    </a:gs>
                    <a:gs pos="30000">
                      <a:schemeClr val="tx1"/>
                    </a:gs>
                  </a:gsLst>
                  <a:lin ang="5400000" scaled="0"/>
                </a:gradFill>
              </a:rPr>
              <a:t>- AAD Pod Identity is deprecated</a:t>
            </a:r>
          </a:p>
        </p:txBody>
      </p:sp>
      <p:sp>
        <p:nvSpPr>
          <p:cNvPr id="4" name="TextBox 3">
            <a:extLst>
              <a:ext uri="{FF2B5EF4-FFF2-40B4-BE49-F238E27FC236}">
                <a16:creationId xmlns:a16="http://schemas.microsoft.com/office/drawing/2014/main" id="{E16E6B2F-3A90-8C7F-0CB0-C0674E7D4A68}"/>
              </a:ext>
            </a:extLst>
          </p:cNvPr>
          <p:cNvSpPr txBox="1"/>
          <p:nvPr/>
        </p:nvSpPr>
        <p:spPr>
          <a:xfrm>
            <a:off x="6548967" y="1333499"/>
            <a:ext cx="4999568" cy="1107996"/>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Migrate existing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pod identity to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 Workload </a:t>
            </a:r>
            <a:r>
              <a:rPr lang="en-US" sz="1800" dirty="0" err="1">
                <a:gradFill>
                  <a:gsLst>
                    <a:gs pos="2917">
                      <a:schemeClr val="tx1"/>
                    </a:gs>
                    <a:gs pos="30000">
                      <a:schemeClr val="tx1"/>
                    </a:gs>
                  </a:gsLst>
                  <a:lin ang="5400000" scaled="0"/>
                </a:gradFill>
              </a:rPr>
              <a:t>Idenitity</a:t>
            </a:r>
            <a:endParaRPr lang="en-US" sz="1800" dirty="0">
              <a:gradFill>
                <a:gsLst>
                  <a:gs pos="2917">
                    <a:schemeClr val="tx1"/>
                  </a:gs>
                  <a:gs pos="30000">
                    <a:schemeClr val="tx1"/>
                  </a:gs>
                </a:gsLst>
                <a:lin ang="5400000" scaled="0"/>
              </a:gradFill>
            </a:endParaRPr>
          </a:p>
        </p:txBody>
      </p:sp>
      <p:pic>
        <p:nvPicPr>
          <p:cNvPr id="7" name="Picture 6">
            <a:extLst>
              <a:ext uri="{FF2B5EF4-FFF2-40B4-BE49-F238E27FC236}">
                <a16:creationId xmlns:a16="http://schemas.microsoft.com/office/drawing/2014/main" id="{A6274C75-BC8E-4861-5DA3-9740E05AE7F6}"/>
              </a:ext>
            </a:extLst>
          </p:cNvPr>
          <p:cNvPicPr>
            <a:picLocks noChangeAspect="1"/>
          </p:cNvPicPr>
          <p:nvPr/>
        </p:nvPicPr>
        <p:blipFill>
          <a:blip r:embed="rId4"/>
          <a:stretch>
            <a:fillRect/>
          </a:stretch>
        </p:blipFill>
        <p:spPr>
          <a:xfrm>
            <a:off x="463879" y="1171901"/>
            <a:ext cx="1877660" cy="1926899"/>
          </a:xfrm>
          <a:prstGeom prst="rect">
            <a:avLst/>
          </a:prstGeom>
        </p:spPr>
      </p:pic>
    </p:spTree>
    <p:extLst>
      <p:ext uri="{BB962C8B-B14F-4D97-AF65-F5344CB8AC3E}">
        <p14:creationId xmlns:p14="http://schemas.microsoft.com/office/powerpoint/2010/main" val="9498684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Health Assessment – Leverage Cluster Managed Identity</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Assign roles to your cluster using User Managed Identities:</a:t>
            </a:r>
          </a:p>
          <a:p>
            <a:pPr marL="342900" indent="-342900">
              <a:buFont typeface="Arial" panose="020B0604020202020204" pitchFamily="34" charset="0"/>
              <a:buChar char="•"/>
            </a:pPr>
            <a:r>
              <a:rPr lang="en-GB" sz="2000" dirty="0">
                <a:hlinkClick r:id="rId3"/>
              </a:rPr>
              <a:t>Use a managed identity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5498A41F-73A2-A592-AE16-19A7181C3543}"/>
              </a:ext>
            </a:extLst>
          </p:cNvPr>
          <p:cNvPicPr>
            <a:picLocks noChangeAspect="1"/>
          </p:cNvPicPr>
          <p:nvPr/>
        </p:nvPicPr>
        <p:blipFill>
          <a:blip r:embed="rId4"/>
          <a:stretch>
            <a:fillRect/>
          </a:stretch>
        </p:blipFill>
        <p:spPr>
          <a:xfrm>
            <a:off x="504722" y="1083876"/>
            <a:ext cx="1939458" cy="2160457"/>
          </a:xfrm>
          <a:prstGeom prst="rect">
            <a:avLst/>
          </a:prstGeom>
        </p:spPr>
      </p:pic>
      <p:sp>
        <p:nvSpPr>
          <p:cNvPr id="3" name="TextBox 2">
            <a:extLst>
              <a:ext uri="{FF2B5EF4-FFF2-40B4-BE49-F238E27FC236}">
                <a16:creationId xmlns:a16="http://schemas.microsoft.com/office/drawing/2014/main" id="{2635CD3F-2F06-4256-674B-F1CA178AAC8A}"/>
              </a:ext>
            </a:extLst>
          </p:cNvPr>
          <p:cNvSpPr txBox="1"/>
          <p:nvPr/>
        </p:nvSpPr>
        <p:spPr>
          <a:xfrm>
            <a:off x="2407585" y="1443566"/>
            <a:ext cx="4141382" cy="1661993"/>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Benefits:</a:t>
            </a:r>
            <a:endParaRPr lang="en-US" sz="1800" dirty="0">
              <a:gradFill>
                <a:gsLst>
                  <a:gs pos="2917">
                    <a:schemeClr val="tx1"/>
                  </a:gs>
                  <a:gs pos="30000">
                    <a:schemeClr val="tx1"/>
                  </a:gs>
                </a:gsLst>
                <a:lin ang="5400000" scaled="0"/>
              </a:gradFill>
            </a:endParaRPr>
          </a:p>
          <a:p>
            <a:pPr algn="l"/>
            <a:r>
              <a:rPr lang="en-US" sz="1800" dirty="0">
                <a:gradFill>
                  <a:gsLst>
                    <a:gs pos="2917">
                      <a:schemeClr val="tx1"/>
                    </a:gs>
                    <a:gs pos="30000">
                      <a:schemeClr val="tx1"/>
                    </a:gs>
                  </a:gsLst>
                  <a:lin ang="5400000" scaled="0"/>
                </a:gradFill>
              </a:rPr>
              <a:t>- Provide AKS cluster a managed identity</a:t>
            </a:r>
          </a:p>
          <a:p>
            <a:pPr algn="l"/>
            <a:r>
              <a:rPr lang="en-US" sz="1800" dirty="0">
                <a:gradFill>
                  <a:gsLst>
                    <a:gs pos="2917">
                      <a:schemeClr val="tx1"/>
                    </a:gs>
                    <a:gs pos="30000">
                      <a:schemeClr val="tx1"/>
                    </a:gs>
                  </a:gsLst>
                  <a:lin ang="5400000" scaled="0"/>
                </a:gradFill>
              </a:rPr>
              <a:t>- Leverage benefits of managed identity (no secrets)</a:t>
            </a:r>
          </a:p>
          <a:p>
            <a:pPr algn="l"/>
            <a:r>
              <a:rPr lang="en-US" sz="1800" dirty="0">
                <a:gradFill>
                  <a:gsLst>
                    <a:gs pos="2917">
                      <a:schemeClr val="tx1"/>
                    </a:gs>
                    <a:gs pos="30000">
                      <a:schemeClr val="tx1"/>
                    </a:gs>
                  </a:gsLst>
                  <a:lin ang="5400000" scaled="0"/>
                </a:gradFill>
              </a:rPr>
              <a:t>- Access to resources like Load Balancer, Managed Disks or secret store CSI Driver</a:t>
            </a:r>
          </a:p>
        </p:txBody>
      </p:sp>
      <p:sp>
        <p:nvSpPr>
          <p:cNvPr id="4" name="TextBox 3">
            <a:extLst>
              <a:ext uri="{FF2B5EF4-FFF2-40B4-BE49-F238E27FC236}">
                <a16:creationId xmlns:a16="http://schemas.microsoft.com/office/drawing/2014/main" id="{49F92E8C-4271-C7CD-0EC7-A2B55C857E4E}"/>
              </a:ext>
            </a:extLst>
          </p:cNvPr>
          <p:cNvSpPr txBox="1"/>
          <p:nvPr/>
        </p:nvSpPr>
        <p:spPr>
          <a:xfrm>
            <a:off x="6548967" y="1333499"/>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Enable managed identity on AKS cluster</a:t>
            </a:r>
          </a:p>
          <a:p>
            <a:pPr marL="457200" indent="-457200" algn="l">
              <a:buFont typeface="+mj-lt"/>
              <a:buAutoNum type="arabicPeriod"/>
            </a:pPr>
            <a:r>
              <a:rPr lang="en-US" sz="1800" dirty="0">
                <a:gradFill>
                  <a:gsLst>
                    <a:gs pos="2917">
                      <a:schemeClr val="tx1"/>
                    </a:gs>
                    <a:gs pos="30000">
                      <a:schemeClr val="tx1"/>
                    </a:gs>
                  </a:gsLst>
                  <a:lin ang="5400000" scaled="0"/>
                </a:gradFill>
              </a:rPr>
              <a:t>Add role assignment for managed identity</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4477454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Disable local account</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Disable local account:</a:t>
            </a:r>
          </a:p>
          <a:p>
            <a:pPr marL="342900" indent="-342900">
              <a:buFont typeface="Arial" panose="020B0604020202020204" pitchFamily="34" charset="0"/>
              <a:buChar char="•"/>
            </a:pPr>
            <a:r>
              <a:rPr lang="en-US" sz="2000" dirty="0">
                <a:hlinkClick r:id="rId3"/>
              </a:rPr>
              <a:t>Manage local accounts with AKS-managed Microsoft </a:t>
            </a:r>
            <a:r>
              <a:rPr lang="en-US" sz="2000" dirty="0" err="1">
                <a:hlinkClick r:id="rId3"/>
              </a:rPr>
              <a:t>Entra</a:t>
            </a:r>
            <a:r>
              <a:rPr lang="en-US" sz="2000" dirty="0">
                <a:hlinkClick r:id="rId3"/>
              </a:rPr>
              <a:t> integration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5498A41F-73A2-A592-AE16-19A7181C3543}"/>
              </a:ext>
            </a:extLst>
          </p:cNvPr>
          <p:cNvPicPr>
            <a:picLocks noChangeAspect="1"/>
          </p:cNvPicPr>
          <p:nvPr/>
        </p:nvPicPr>
        <p:blipFill>
          <a:blip r:embed="rId4"/>
          <a:stretch>
            <a:fillRect/>
          </a:stretch>
        </p:blipFill>
        <p:spPr>
          <a:xfrm>
            <a:off x="504722" y="1083876"/>
            <a:ext cx="1939458" cy="2160457"/>
          </a:xfrm>
          <a:prstGeom prst="rect">
            <a:avLst/>
          </a:prstGeom>
        </p:spPr>
      </p:pic>
      <p:sp>
        <p:nvSpPr>
          <p:cNvPr id="3" name="TextBox 2">
            <a:extLst>
              <a:ext uri="{FF2B5EF4-FFF2-40B4-BE49-F238E27FC236}">
                <a16:creationId xmlns:a16="http://schemas.microsoft.com/office/drawing/2014/main" id="{2635CD3F-2F06-4256-674B-F1CA178AAC8A}"/>
              </a:ext>
            </a:extLst>
          </p:cNvPr>
          <p:cNvSpPr txBox="1"/>
          <p:nvPr/>
        </p:nvSpPr>
        <p:spPr>
          <a:xfrm>
            <a:off x="2407585" y="1443566"/>
            <a:ext cx="4141382" cy="830997"/>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Benefits:</a:t>
            </a:r>
            <a:endParaRPr lang="en-US" sz="1800" dirty="0">
              <a:gradFill>
                <a:gsLst>
                  <a:gs pos="2917">
                    <a:schemeClr val="tx1"/>
                  </a:gs>
                  <a:gs pos="30000">
                    <a:schemeClr val="tx1"/>
                  </a:gs>
                </a:gsLst>
                <a:lin ang="5400000" scaled="0"/>
              </a:gradFill>
            </a:endParaRPr>
          </a:p>
          <a:p>
            <a:pPr algn="l"/>
            <a:r>
              <a:rPr lang="en-US" sz="1800" dirty="0">
                <a:gradFill>
                  <a:gsLst>
                    <a:gs pos="2917">
                      <a:schemeClr val="tx1"/>
                    </a:gs>
                    <a:gs pos="30000">
                      <a:schemeClr val="tx1"/>
                    </a:gs>
                  </a:gsLst>
                  <a:lin ang="5400000" scaled="0"/>
                </a:gradFill>
              </a:rPr>
              <a:t>- Disable non-auditable users</a:t>
            </a:r>
          </a:p>
          <a:p>
            <a:pPr algn="l"/>
            <a:r>
              <a:rPr lang="en-US" sz="1800" dirty="0">
                <a:gradFill>
                  <a:gsLst>
                    <a:gs pos="2917">
                      <a:schemeClr val="tx1"/>
                    </a:gs>
                    <a:gs pos="30000">
                      <a:schemeClr val="tx1"/>
                    </a:gs>
                  </a:gsLst>
                  <a:lin ang="5400000" scaled="0"/>
                </a:gradFill>
              </a:rPr>
              <a:t>- Leverage modern authentication</a:t>
            </a:r>
          </a:p>
        </p:txBody>
      </p:sp>
      <p:sp>
        <p:nvSpPr>
          <p:cNvPr id="4" name="TextBox 3">
            <a:extLst>
              <a:ext uri="{FF2B5EF4-FFF2-40B4-BE49-F238E27FC236}">
                <a16:creationId xmlns:a16="http://schemas.microsoft.com/office/drawing/2014/main" id="{49F92E8C-4271-C7CD-0EC7-A2B55C857E4E}"/>
              </a:ext>
            </a:extLst>
          </p:cNvPr>
          <p:cNvSpPr txBox="1"/>
          <p:nvPr/>
        </p:nvSpPr>
        <p:spPr>
          <a:xfrm>
            <a:off x="6548967" y="1333499"/>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Disable local account</a:t>
            </a:r>
          </a:p>
          <a:p>
            <a:pPr marL="457200" indent="-457200" algn="l">
              <a:buFont typeface="+mj-lt"/>
              <a:buAutoNum type="arabicPeriod"/>
            </a:pPr>
            <a:r>
              <a:rPr lang="en-US" sz="1800" dirty="0">
                <a:gradFill>
                  <a:gsLst>
                    <a:gs pos="2917">
                      <a:schemeClr val="tx1"/>
                    </a:gs>
                    <a:gs pos="30000">
                      <a:schemeClr val="tx1"/>
                    </a:gs>
                  </a:gsLst>
                  <a:lin ang="5400000" scaled="0"/>
                </a:gradFill>
              </a:rPr>
              <a:t>Enable Microsoft </a:t>
            </a:r>
            <a:r>
              <a:rPr lang="en-US" sz="1800" dirty="0" err="1">
                <a:gradFill>
                  <a:gsLst>
                    <a:gs pos="2917">
                      <a:schemeClr val="tx1"/>
                    </a:gs>
                    <a:gs pos="30000">
                      <a:schemeClr val="tx1"/>
                    </a:gs>
                  </a:gsLst>
                  <a:lin ang="5400000" scaled="0"/>
                </a:gradFill>
              </a:rPr>
              <a:t>Entra</a:t>
            </a:r>
            <a:r>
              <a:rPr lang="en-US" sz="1800" dirty="0">
                <a:gradFill>
                  <a:gsLst>
                    <a:gs pos="2917">
                      <a:schemeClr val="tx1"/>
                    </a:gs>
                    <a:gs pos="30000">
                      <a:schemeClr val="tx1"/>
                    </a:gs>
                  </a:gsLst>
                  <a:lin ang="5400000" scaled="0"/>
                </a:gradFill>
              </a:rPr>
              <a:t> ID/Kubernetes RBAC</a:t>
            </a:r>
          </a:p>
          <a:p>
            <a:pPr marL="457200" indent="-457200" algn="l">
              <a:buFont typeface="+mj-lt"/>
              <a:buAutoNum type="arabicPeriod"/>
            </a:pP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7009924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Container Insights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figure monitoring for your clusters:</a:t>
            </a:r>
          </a:p>
          <a:p>
            <a:pPr marL="342900" indent="-342900">
              <a:buFont typeface="Arial" panose="020B0604020202020204" pitchFamily="34" charset="0"/>
              <a:buChar char="•"/>
            </a:pPr>
            <a:r>
              <a:rPr lang="en-GB" sz="2000" dirty="0">
                <a:hlinkClick r:id="rId3"/>
              </a:rPr>
              <a:t>Enable Container insights for Azure Kubernetes Service (AKS) cluster - Azure Monitor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7629D7FE-6E96-08F1-8890-7B018C72EEF3}"/>
              </a:ext>
            </a:extLst>
          </p:cNvPr>
          <p:cNvPicPr>
            <a:picLocks noChangeAspect="1"/>
          </p:cNvPicPr>
          <p:nvPr/>
        </p:nvPicPr>
        <p:blipFill>
          <a:blip r:embed="rId4"/>
          <a:stretch>
            <a:fillRect/>
          </a:stretch>
        </p:blipFill>
        <p:spPr>
          <a:xfrm>
            <a:off x="357109" y="974225"/>
            <a:ext cx="1901355" cy="2152837"/>
          </a:xfrm>
          <a:prstGeom prst="rect">
            <a:avLst/>
          </a:prstGeom>
        </p:spPr>
      </p:pic>
      <p:sp>
        <p:nvSpPr>
          <p:cNvPr id="3" name="TextBox 2">
            <a:extLst>
              <a:ext uri="{FF2B5EF4-FFF2-40B4-BE49-F238E27FC236}">
                <a16:creationId xmlns:a16="http://schemas.microsoft.com/office/drawing/2014/main" id="{13714FA1-6B51-C1B9-7A3A-DC89EB0D839A}"/>
              </a:ext>
            </a:extLst>
          </p:cNvPr>
          <p:cNvSpPr txBox="1"/>
          <p:nvPr/>
        </p:nvSpPr>
        <p:spPr>
          <a:xfrm>
            <a:off x="2407585" y="1443566"/>
            <a:ext cx="4141382" cy="3693319"/>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Identifying containers running on each node and their processor and memory utilization</a:t>
            </a:r>
          </a:p>
          <a:p>
            <a:pPr algn="l"/>
            <a:r>
              <a:rPr lang="en-US" sz="1600" dirty="0">
                <a:gradFill>
                  <a:gsLst>
                    <a:gs pos="2917">
                      <a:schemeClr val="tx1"/>
                    </a:gs>
                    <a:gs pos="30000">
                      <a:schemeClr val="tx1"/>
                    </a:gs>
                  </a:gsLst>
                  <a:lin ang="5400000" scaled="0"/>
                </a:gradFill>
              </a:rPr>
              <a:t>- Identify capacity needs and determine the maximum load that the cluster can sustain</a:t>
            </a:r>
          </a:p>
          <a:p>
            <a:pPr algn="l"/>
            <a:r>
              <a:rPr lang="en-US" sz="1600" dirty="0">
                <a:gradFill>
                  <a:gsLst>
                    <a:gs pos="2917">
                      <a:schemeClr val="tx1"/>
                    </a:gs>
                    <a:gs pos="30000">
                      <a:schemeClr val="tx1"/>
                    </a:gs>
                  </a:gsLst>
                  <a:lin ang="5400000" scaled="0"/>
                </a:gradFill>
              </a:rPr>
              <a:t>- Access live container logs and metrics generated by the container engine to help with troubleshooting</a:t>
            </a:r>
          </a:p>
          <a:p>
            <a:pPr algn="l"/>
            <a:r>
              <a:rPr lang="en-US" sz="1600" dirty="0">
                <a:gradFill>
                  <a:gsLst>
                    <a:gs pos="2917">
                      <a:schemeClr val="tx1"/>
                    </a:gs>
                    <a:gs pos="30000">
                      <a:schemeClr val="tx1"/>
                    </a:gs>
                  </a:gsLst>
                  <a:lin ang="5400000" scaled="0"/>
                </a:gradFill>
              </a:rPr>
              <a:t>- Configure alerts to proactively notify you or record when CPU and memory utilization on nodes or containers exceed your thresholds</a:t>
            </a:r>
          </a:p>
          <a:p>
            <a:pPr algn="l"/>
            <a:r>
              <a:rPr lang="en-US" sz="1600" dirty="0">
                <a:gradFill>
                  <a:gsLst>
                    <a:gs pos="2917">
                      <a:schemeClr val="tx1"/>
                    </a:gs>
                    <a:gs pos="30000">
                      <a:schemeClr val="tx1"/>
                    </a:gs>
                  </a:gsLst>
                  <a:lin ang="5400000" scaled="0"/>
                </a:gradFill>
              </a:rPr>
              <a:t>- Easy on-board experience</a:t>
            </a:r>
          </a:p>
          <a:p>
            <a:pPr algn="l"/>
            <a:r>
              <a:rPr lang="en-US" sz="1600" dirty="0">
                <a:gradFill>
                  <a:gsLst>
                    <a:gs pos="2917">
                      <a:schemeClr val="tx1"/>
                    </a:gs>
                    <a:gs pos="30000">
                      <a:schemeClr val="tx1"/>
                    </a:gs>
                  </a:gsLst>
                  <a:lin ang="5400000" scaled="0"/>
                </a:gradFill>
              </a:rPr>
              <a:t>- Built-in visualizations</a:t>
            </a:r>
          </a:p>
          <a:p>
            <a:pPr algn="l"/>
            <a:r>
              <a:rPr lang="en-US" sz="1600" dirty="0">
                <a:gradFill>
                  <a:gsLst>
                    <a:gs pos="2917">
                      <a:schemeClr val="tx1"/>
                    </a:gs>
                    <a:gs pos="30000">
                      <a:schemeClr val="tx1"/>
                    </a:gs>
                  </a:gsLst>
                  <a:lin ang="5400000" scaled="0"/>
                </a:gradFill>
              </a:rPr>
              <a:t>- Data collection presets (cost-saving, verbose)</a:t>
            </a:r>
          </a:p>
        </p:txBody>
      </p:sp>
      <p:sp>
        <p:nvSpPr>
          <p:cNvPr id="4" name="TextBox 3">
            <a:extLst>
              <a:ext uri="{FF2B5EF4-FFF2-40B4-BE49-F238E27FC236}">
                <a16:creationId xmlns:a16="http://schemas.microsoft.com/office/drawing/2014/main" id="{4DA30775-C937-CC1C-B8D2-92B69FF18B1F}"/>
              </a:ext>
            </a:extLst>
          </p:cNvPr>
          <p:cNvSpPr txBox="1"/>
          <p:nvPr/>
        </p:nvSpPr>
        <p:spPr>
          <a:xfrm>
            <a:off x="6548967" y="1333499"/>
            <a:ext cx="4999568" cy="2215991"/>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marL="457200" indent="-457200" algn="l">
              <a:buFont typeface="+mj-lt"/>
              <a:buAutoNum type="arabicPeriod"/>
            </a:pPr>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Identify a Log Analytics Workspace</a:t>
            </a:r>
          </a:p>
          <a:p>
            <a:pPr marL="457200" indent="-457200" algn="l">
              <a:buFont typeface="+mj-lt"/>
              <a:buAutoNum type="arabicPeriod"/>
            </a:pPr>
            <a:r>
              <a:rPr lang="en-US" sz="1800" dirty="0">
                <a:gradFill>
                  <a:gsLst>
                    <a:gs pos="2917">
                      <a:schemeClr val="tx1"/>
                    </a:gs>
                    <a:gs pos="30000">
                      <a:schemeClr val="tx1"/>
                    </a:gs>
                  </a:gsLst>
                  <a:lin ang="5400000" scaled="0"/>
                </a:gradFill>
              </a:rPr>
              <a:t>Enable Container Insights</a:t>
            </a:r>
          </a:p>
          <a:p>
            <a:pPr marL="457200" indent="-457200" algn="l">
              <a:buFont typeface="+mj-lt"/>
              <a:buAutoNum type="arabicPeriod"/>
            </a:pPr>
            <a:r>
              <a:rPr lang="en-US" sz="1800" dirty="0">
                <a:gradFill>
                  <a:gsLst>
                    <a:gs pos="2917">
                      <a:schemeClr val="tx1"/>
                    </a:gs>
                    <a:gs pos="30000">
                      <a:schemeClr val="tx1"/>
                    </a:gs>
                  </a:gsLst>
                  <a:lin ang="5400000" scaled="0"/>
                </a:gradFill>
              </a:rPr>
              <a:t>Optionally Integrate with managed Prometheus or Grafana</a:t>
            </a:r>
          </a:p>
          <a:p>
            <a:pPr marL="457200" indent="-457200" algn="l">
              <a:buFont typeface="+mj-lt"/>
              <a:buAutoNum type="arabicPeriod"/>
            </a:pPr>
            <a:r>
              <a:rPr lang="en-US" sz="1800" dirty="0">
                <a:gradFill>
                  <a:gsLst>
                    <a:gs pos="2917">
                      <a:schemeClr val="tx1"/>
                    </a:gs>
                    <a:gs pos="30000">
                      <a:schemeClr val="tx1"/>
                    </a:gs>
                  </a:gsLst>
                  <a:lin ang="5400000" scaled="0"/>
                </a:gradFill>
              </a:rPr>
              <a:t>Identify metric/logs alert rules for your </a:t>
            </a:r>
            <a:r>
              <a:rPr lang="en-US" sz="1800" dirty="0" err="1">
                <a:gradFill>
                  <a:gsLst>
                    <a:gs pos="2917">
                      <a:schemeClr val="tx1"/>
                    </a:gs>
                    <a:gs pos="30000">
                      <a:schemeClr val="tx1"/>
                    </a:gs>
                  </a:gsLst>
                  <a:lin ang="5400000" scaled="0"/>
                </a:gradFill>
              </a:rPr>
              <a:t>worklad</a:t>
            </a: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14010835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Diagnostic Settings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615553"/>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figure Diagnostic Settings for your clusters:</a:t>
            </a:r>
          </a:p>
          <a:p>
            <a:pPr marL="342900" indent="-342900">
              <a:buFont typeface="Arial" panose="020B0604020202020204" pitchFamily="34" charset="0"/>
              <a:buChar char="•"/>
            </a:pPr>
            <a:r>
              <a:rPr lang="en-GB" sz="2000" dirty="0">
                <a:hlinkClick r:id="rId3"/>
              </a:rPr>
              <a:t>Monitor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BF22D695-F0B7-7D44-8E26-17F3DFBDE2B2}"/>
              </a:ext>
            </a:extLst>
          </p:cNvPr>
          <p:cNvPicPr>
            <a:picLocks noChangeAspect="1"/>
          </p:cNvPicPr>
          <p:nvPr/>
        </p:nvPicPr>
        <p:blipFill>
          <a:blip r:embed="rId4"/>
          <a:stretch>
            <a:fillRect/>
          </a:stretch>
        </p:blipFill>
        <p:spPr>
          <a:xfrm>
            <a:off x="228037" y="938333"/>
            <a:ext cx="2011854" cy="2164268"/>
          </a:xfrm>
          <a:prstGeom prst="rect">
            <a:avLst/>
          </a:prstGeom>
        </p:spPr>
      </p:pic>
      <p:sp>
        <p:nvSpPr>
          <p:cNvPr id="3" name="TextBox 2">
            <a:extLst>
              <a:ext uri="{FF2B5EF4-FFF2-40B4-BE49-F238E27FC236}">
                <a16:creationId xmlns:a16="http://schemas.microsoft.com/office/drawing/2014/main" id="{BFE4696D-6C58-70CB-FA8C-AA2E0804AB1F}"/>
              </a:ext>
            </a:extLst>
          </p:cNvPr>
          <p:cNvSpPr txBox="1"/>
          <p:nvPr/>
        </p:nvSpPr>
        <p:spPr>
          <a:xfrm>
            <a:off x="2407585" y="1443566"/>
            <a:ext cx="4141382" cy="1231106"/>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Enable AKS Cluster platform logs</a:t>
            </a:r>
          </a:p>
          <a:p>
            <a:pPr algn="l"/>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Monitor cluster control plane components including API Server, Audit, etc. </a:t>
            </a:r>
          </a:p>
        </p:txBody>
      </p:sp>
      <p:sp>
        <p:nvSpPr>
          <p:cNvPr id="4" name="TextBox 3">
            <a:extLst>
              <a:ext uri="{FF2B5EF4-FFF2-40B4-BE49-F238E27FC236}">
                <a16:creationId xmlns:a16="http://schemas.microsoft.com/office/drawing/2014/main" id="{E480B781-B482-2B28-9364-EE37EAF2D476}"/>
              </a:ext>
            </a:extLst>
          </p:cNvPr>
          <p:cNvSpPr txBox="1"/>
          <p:nvPr/>
        </p:nvSpPr>
        <p:spPr>
          <a:xfrm>
            <a:off x="6548967" y="1333499"/>
            <a:ext cx="4999568" cy="1661993"/>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Identify a Log Analytics Workspace</a:t>
            </a:r>
          </a:p>
          <a:p>
            <a:pPr marL="457200" indent="-457200" algn="l">
              <a:buFont typeface="+mj-lt"/>
              <a:buAutoNum type="arabicPeriod"/>
            </a:pPr>
            <a:r>
              <a:rPr lang="en-US" sz="1800" dirty="0">
                <a:gradFill>
                  <a:gsLst>
                    <a:gs pos="2917">
                      <a:schemeClr val="tx1"/>
                    </a:gs>
                    <a:gs pos="30000">
                      <a:schemeClr val="tx1"/>
                    </a:gs>
                  </a:gsLst>
                  <a:lin ang="5400000" scaled="0"/>
                </a:gradFill>
              </a:rPr>
              <a:t>Configure diagnostic settings</a:t>
            </a:r>
          </a:p>
          <a:p>
            <a:pPr marL="457200" indent="-457200" algn="l">
              <a:buFont typeface="+mj-lt"/>
              <a:buAutoNum type="arabicPeriod"/>
            </a:pPr>
            <a:r>
              <a:rPr lang="en-US" sz="1800" dirty="0">
                <a:gradFill>
                  <a:gsLst>
                    <a:gs pos="2917">
                      <a:schemeClr val="tx1"/>
                    </a:gs>
                    <a:gs pos="30000">
                      <a:schemeClr val="tx1"/>
                    </a:gs>
                  </a:gsLst>
                  <a:lin ang="5400000" scaled="0"/>
                </a:gradFill>
              </a:rPr>
              <a:t>Select Log Categories  (i.e. Kubernetes API Server or Kubernetes Audit)</a:t>
            </a:r>
          </a:p>
        </p:txBody>
      </p:sp>
    </p:spTree>
    <p:extLst>
      <p:ext uri="{BB962C8B-B14F-4D97-AF65-F5344CB8AC3E}">
        <p14:creationId xmlns:p14="http://schemas.microsoft.com/office/powerpoint/2010/main" val="420616466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Availability zones should be us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recreate production clusters using Availability Zones:</a:t>
            </a:r>
          </a:p>
          <a:p>
            <a:pPr marL="342900" indent="-342900">
              <a:buFont typeface="Arial" panose="020B0604020202020204" pitchFamily="34" charset="0"/>
              <a:buChar char="•"/>
            </a:pPr>
            <a:r>
              <a:rPr lang="en-GB" sz="2000" dirty="0">
                <a:hlinkClick r:id="rId3"/>
              </a:rPr>
              <a:t>Use availability zones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99B65857-4382-2CFB-E45B-69E6F9315BB9}"/>
              </a:ext>
            </a:extLst>
          </p:cNvPr>
          <p:cNvPicPr>
            <a:picLocks noChangeAspect="1"/>
          </p:cNvPicPr>
          <p:nvPr/>
        </p:nvPicPr>
        <p:blipFill>
          <a:blip r:embed="rId4"/>
          <a:stretch>
            <a:fillRect/>
          </a:stretch>
        </p:blipFill>
        <p:spPr>
          <a:xfrm>
            <a:off x="465570" y="1058421"/>
            <a:ext cx="1954699" cy="2137595"/>
          </a:xfrm>
          <a:prstGeom prst="rect">
            <a:avLst/>
          </a:prstGeom>
        </p:spPr>
      </p:pic>
      <p:sp>
        <p:nvSpPr>
          <p:cNvPr id="3" name="TextBox 2">
            <a:extLst>
              <a:ext uri="{FF2B5EF4-FFF2-40B4-BE49-F238E27FC236}">
                <a16:creationId xmlns:a16="http://schemas.microsoft.com/office/drawing/2014/main" id="{D72309E9-B1CE-B53F-77AB-77004F09F524}"/>
              </a:ext>
            </a:extLst>
          </p:cNvPr>
          <p:cNvSpPr txBox="1"/>
          <p:nvPr/>
        </p:nvSpPr>
        <p:spPr>
          <a:xfrm>
            <a:off x="2407585" y="1443566"/>
            <a:ext cx="4141382" cy="1969770"/>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Cluster nodes span multiple zones</a:t>
            </a:r>
          </a:p>
          <a:p>
            <a:pPr algn="l"/>
            <a:r>
              <a:rPr lang="en-US" sz="1600" dirty="0">
                <a:gradFill>
                  <a:gsLst>
                    <a:gs pos="2917">
                      <a:schemeClr val="tx1"/>
                    </a:gs>
                    <a:gs pos="30000">
                      <a:schemeClr val="tx1"/>
                    </a:gs>
                  </a:gsLst>
                  <a:lin ang="5400000" scaled="0"/>
                </a:gradFill>
              </a:rPr>
              <a:t>- Node pool can continue operating even if a single zone has gone down</a:t>
            </a:r>
          </a:p>
          <a:p>
            <a:pPr algn="l"/>
            <a:r>
              <a:rPr lang="en-US" sz="1600" dirty="0">
                <a:gradFill>
                  <a:gsLst>
                    <a:gs pos="2917">
                      <a:schemeClr val="tx1"/>
                    </a:gs>
                    <a:gs pos="30000">
                      <a:schemeClr val="tx1"/>
                    </a:gs>
                  </a:gsLst>
                  <a:lin ang="5400000" scaled="0"/>
                </a:gradFill>
              </a:rPr>
              <a:t>- Applications can continue to be available even if there's a physical failure in a single datacenter if orchestrated to tolerate failure of a subset of nodes</a:t>
            </a:r>
          </a:p>
        </p:txBody>
      </p:sp>
      <p:sp>
        <p:nvSpPr>
          <p:cNvPr id="4" name="TextBox 3">
            <a:extLst>
              <a:ext uri="{FF2B5EF4-FFF2-40B4-BE49-F238E27FC236}">
                <a16:creationId xmlns:a16="http://schemas.microsoft.com/office/drawing/2014/main" id="{4A1C0DAE-74E9-6CC5-E8AF-E576676B6DB2}"/>
              </a:ext>
            </a:extLst>
          </p:cNvPr>
          <p:cNvSpPr txBox="1"/>
          <p:nvPr/>
        </p:nvSpPr>
        <p:spPr>
          <a:xfrm>
            <a:off x="6548967" y="1333499"/>
            <a:ext cx="4999568" cy="3046988"/>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Recreate the node pool </a:t>
            </a:r>
          </a:p>
          <a:p>
            <a:pPr marL="457200" indent="-457200" algn="l">
              <a:buFont typeface="+mj-lt"/>
              <a:buAutoNum type="arabicPeriod"/>
            </a:pPr>
            <a:r>
              <a:rPr lang="en-US" sz="1800" dirty="0">
                <a:gradFill>
                  <a:gsLst>
                    <a:gs pos="2917">
                      <a:schemeClr val="tx1"/>
                    </a:gs>
                    <a:gs pos="30000">
                      <a:schemeClr val="tx1"/>
                    </a:gs>
                  </a:gsLst>
                  <a:lin ang="5400000" scaled="0"/>
                </a:gradFill>
              </a:rPr>
              <a:t>Chose up to 3 availability zone</a:t>
            </a:r>
          </a:p>
          <a:p>
            <a:pPr marL="457200" indent="-457200" algn="l">
              <a:buFont typeface="+mj-lt"/>
              <a:buAutoNum type="arabicPeriod"/>
            </a:pPr>
            <a:r>
              <a:rPr lang="en-US" sz="1800" dirty="0">
                <a:gradFill>
                  <a:gsLst>
                    <a:gs pos="2917">
                      <a:schemeClr val="tx1"/>
                    </a:gs>
                    <a:gs pos="30000">
                      <a:schemeClr val="tx1"/>
                    </a:gs>
                  </a:gsLst>
                  <a:lin ang="5400000" scaled="0"/>
                </a:gradFill>
              </a:rPr>
              <a:t>Set a </a:t>
            </a:r>
            <a:r>
              <a:rPr lang="en-US" sz="1800" dirty="0" err="1">
                <a:gradFill>
                  <a:gsLst>
                    <a:gs pos="2917">
                      <a:schemeClr val="tx1"/>
                    </a:gs>
                    <a:gs pos="30000">
                      <a:schemeClr val="tx1"/>
                    </a:gs>
                  </a:gsLst>
                  <a:lin ang="5400000" scaled="0"/>
                </a:gradFill>
              </a:rPr>
              <a:t>nodepool</a:t>
            </a:r>
            <a:r>
              <a:rPr lang="en-US" sz="1800" dirty="0">
                <a:gradFill>
                  <a:gsLst>
                    <a:gs pos="2917">
                      <a:schemeClr val="tx1"/>
                    </a:gs>
                    <a:gs pos="30000">
                      <a:schemeClr val="tx1"/>
                    </a:gs>
                  </a:gsLst>
                  <a:lin ang="5400000" scaled="0"/>
                </a:gradFill>
              </a:rPr>
              <a:t> count to a minimum number according the availability zones</a:t>
            </a:r>
          </a:p>
          <a:p>
            <a:pPr marL="457200" indent="-457200" algn="l">
              <a:buFont typeface="+mj-lt"/>
              <a:buAutoNum type="arabicPeriod"/>
            </a:pPr>
            <a:r>
              <a:rPr lang="en-US" sz="1800" dirty="0">
                <a:gradFill>
                  <a:gsLst>
                    <a:gs pos="2917">
                      <a:schemeClr val="tx1"/>
                    </a:gs>
                    <a:gs pos="30000">
                      <a:schemeClr val="tx1"/>
                    </a:gs>
                  </a:gsLst>
                  <a:lin ang="5400000" scaled="0"/>
                </a:gradFill>
              </a:rPr>
              <a:t>Increase replica of pods of your workload so that can span nodes on different availability zones</a:t>
            </a:r>
          </a:p>
          <a:p>
            <a:pPr marL="457200" indent="-457200" algn="l">
              <a:buFont typeface="+mj-lt"/>
              <a:buAutoNum type="arabicPeriod"/>
            </a:pPr>
            <a:r>
              <a:rPr lang="en-US" sz="1800" dirty="0">
                <a:gradFill>
                  <a:gsLst>
                    <a:gs pos="2917">
                      <a:schemeClr val="tx1"/>
                    </a:gs>
                    <a:gs pos="30000">
                      <a:schemeClr val="tx1"/>
                    </a:gs>
                  </a:gsLst>
                  <a:lin ang="5400000" scaled="0"/>
                </a:gradFill>
              </a:rPr>
              <a:t>Make sure the application is designed to tolerate failure of a subset of nodes</a:t>
            </a:r>
          </a:p>
        </p:txBody>
      </p:sp>
    </p:spTree>
    <p:extLst>
      <p:ext uri="{BB962C8B-B14F-4D97-AF65-F5344CB8AC3E}">
        <p14:creationId xmlns:p14="http://schemas.microsoft.com/office/powerpoint/2010/main" val="8349915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Uptime SLA should be enabl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upgrade production clusters from free tier to standard tier:</a:t>
            </a:r>
          </a:p>
          <a:p>
            <a:pPr marL="342900" indent="-342900">
              <a:buFont typeface="Arial" panose="020B0604020202020204" pitchFamily="34" charset="0"/>
              <a:buChar char="•"/>
            </a:pPr>
            <a:r>
              <a:rPr lang="en-GB" sz="2000" dirty="0">
                <a:hlinkClick r:id="rId3"/>
              </a:rPr>
              <a:t>Azure Kubernetes Service (AKS) Free and Standard pricing tiers for cluster management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F82CAE72-824B-C23F-42DB-199588F12456}"/>
              </a:ext>
            </a:extLst>
          </p:cNvPr>
          <p:cNvPicPr>
            <a:picLocks noChangeAspect="1"/>
          </p:cNvPicPr>
          <p:nvPr/>
        </p:nvPicPr>
        <p:blipFill>
          <a:blip r:embed="rId4"/>
          <a:stretch>
            <a:fillRect/>
          </a:stretch>
        </p:blipFill>
        <p:spPr>
          <a:xfrm>
            <a:off x="109981" y="947545"/>
            <a:ext cx="2129975" cy="2209992"/>
          </a:xfrm>
          <a:prstGeom prst="rect">
            <a:avLst/>
          </a:prstGeom>
        </p:spPr>
      </p:pic>
      <p:sp>
        <p:nvSpPr>
          <p:cNvPr id="6" name="TextBox 5">
            <a:extLst>
              <a:ext uri="{FF2B5EF4-FFF2-40B4-BE49-F238E27FC236}">
                <a16:creationId xmlns:a16="http://schemas.microsoft.com/office/drawing/2014/main" id="{1E1297AA-FB33-9A81-6E68-4DD1835E2A14}"/>
              </a:ext>
            </a:extLst>
          </p:cNvPr>
          <p:cNvSpPr txBox="1"/>
          <p:nvPr/>
        </p:nvSpPr>
        <p:spPr>
          <a:xfrm>
            <a:off x="2407585" y="1443566"/>
            <a:ext cx="3887382" cy="1723549"/>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Clusters with up to 5,000 nodes</a:t>
            </a:r>
          </a:p>
          <a:p>
            <a:pPr algn="l"/>
            <a:r>
              <a:rPr lang="en-US" sz="1600" dirty="0">
                <a:gradFill>
                  <a:gsLst>
                    <a:gs pos="2917">
                      <a:schemeClr val="tx1"/>
                    </a:gs>
                    <a:gs pos="30000">
                      <a:schemeClr val="tx1"/>
                    </a:gs>
                  </a:gsLst>
                  <a:lin ang="5400000" scaled="0"/>
                </a:gradFill>
              </a:rPr>
              <a:t>- SLA feature guarantees 99.95% availability of the Kubernetes API server endpoint for clusters using Availability Zones, and 99.9% of availability for clusters that aren't using Availability Zones.</a:t>
            </a:r>
          </a:p>
        </p:txBody>
      </p:sp>
      <p:sp>
        <p:nvSpPr>
          <p:cNvPr id="7" name="TextBox 6">
            <a:extLst>
              <a:ext uri="{FF2B5EF4-FFF2-40B4-BE49-F238E27FC236}">
                <a16:creationId xmlns:a16="http://schemas.microsoft.com/office/drawing/2014/main" id="{19D03AAF-DDCE-8EB5-0DB7-A02EDC3B7739}"/>
              </a:ext>
            </a:extLst>
          </p:cNvPr>
          <p:cNvSpPr txBox="1"/>
          <p:nvPr/>
        </p:nvSpPr>
        <p:spPr>
          <a:xfrm>
            <a:off x="6548967" y="1333499"/>
            <a:ext cx="4999568" cy="1107996"/>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Configure the AKS pricing tier from “Free” to “Standard” </a:t>
            </a:r>
          </a:p>
        </p:txBody>
      </p:sp>
    </p:spTree>
    <p:extLst>
      <p:ext uri="{BB962C8B-B14F-4D97-AF65-F5344CB8AC3E}">
        <p14:creationId xmlns:p14="http://schemas.microsoft.com/office/powerpoint/2010/main" val="16313216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BF15BD-001C-49B3-9A01-B39DEDA47564}"/>
              </a:ext>
            </a:extLst>
          </p:cNvPr>
          <p:cNvSpPr>
            <a:spLocks noGrp="1"/>
          </p:cNvSpPr>
          <p:nvPr>
            <p:ph type="title"/>
          </p:nvPr>
        </p:nvSpPr>
        <p:spPr>
          <a:xfrm>
            <a:off x="584200" y="2305840"/>
            <a:ext cx="3468956" cy="3963193"/>
          </a:xfrm>
        </p:spPr>
        <p:txBody>
          <a:bodyPr/>
          <a:lstStyle/>
          <a:p>
            <a:r>
              <a:rPr lang="en-US" dirty="0"/>
              <a:t>Introduction</a:t>
            </a:r>
          </a:p>
        </p:txBody>
      </p:sp>
      <p:sp>
        <p:nvSpPr>
          <p:cNvPr id="7" name="Text Placeholder 6">
            <a:extLst>
              <a:ext uri="{FF2B5EF4-FFF2-40B4-BE49-F238E27FC236}">
                <a16:creationId xmlns:a16="http://schemas.microsoft.com/office/drawing/2014/main" id="{61F6BD0B-C4D8-42DE-A3A7-50D8219CE639}"/>
              </a:ext>
            </a:extLst>
          </p:cNvPr>
          <p:cNvSpPr>
            <a:spLocks noGrp="1"/>
          </p:cNvSpPr>
          <p:nvPr>
            <p:ph type="body" sz="quarter" idx="10"/>
          </p:nvPr>
        </p:nvSpPr>
        <p:spPr>
          <a:xfrm>
            <a:off x="4646104" y="2447038"/>
            <a:ext cx="6961188" cy="738664"/>
          </a:xfrm>
        </p:spPr>
        <p:txBody>
          <a:bodyPr/>
          <a:lstStyle/>
          <a:p>
            <a:r>
              <a:rPr lang="en-US" dirty="0"/>
              <a:t>AKS Well-Architected Assessment</a:t>
            </a:r>
            <a:br>
              <a:rPr lang="en-US" dirty="0"/>
            </a:br>
            <a:r>
              <a:rPr lang="en-US" dirty="0"/>
              <a:t>Outcomes</a:t>
            </a:r>
          </a:p>
        </p:txBody>
      </p:sp>
    </p:spTree>
    <p:extLst>
      <p:ext uri="{BB962C8B-B14F-4D97-AF65-F5344CB8AC3E}">
        <p14:creationId xmlns:p14="http://schemas.microsoft.com/office/powerpoint/2010/main" val="417856549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Control plane and node pools version should not be outdat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Consider upgrade unsupported clusters – Check supportability:</a:t>
            </a:r>
          </a:p>
          <a:p>
            <a:pPr marL="342900" indent="-342900">
              <a:buFont typeface="Arial" panose="020B0604020202020204" pitchFamily="34" charset="0"/>
              <a:buChar char="•"/>
            </a:pPr>
            <a:r>
              <a:rPr lang="en-GB" sz="2000" dirty="0">
                <a:hlinkClick r:id="rId3"/>
              </a:rPr>
              <a:t>Supported Kubernetes versions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4" name="Picture 3">
            <a:extLst>
              <a:ext uri="{FF2B5EF4-FFF2-40B4-BE49-F238E27FC236}">
                <a16:creationId xmlns:a16="http://schemas.microsoft.com/office/drawing/2014/main" id="{50AD4C9A-DEA9-35F9-F087-4BC93BDE9B27}"/>
              </a:ext>
            </a:extLst>
          </p:cNvPr>
          <p:cNvPicPr>
            <a:picLocks noChangeAspect="1"/>
          </p:cNvPicPr>
          <p:nvPr/>
        </p:nvPicPr>
        <p:blipFill>
          <a:blip r:embed="rId4"/>
          <a:stretch>
            <a:fillRect/>
          </a:stretch>
        </p:blipFill>
        <p:spPr>
          <a:xfrm>
            <a:off x="516593" y="1482633"/>
            <a:ext cx="1947079" cy="2114733"/>
          </a:xfrm>
          <a:prstGeom prst="rect">
            <a:avLst/>
          </a:prstGeom>
        </p:spPr>
      </p:pic>
      <p:sp>
        <p:nvSpPr>
          <p:cNvPr id="3" name="TextBox 2">
            <a:extLst>
              <a:ext uri="{FF2B5EF4-FFF2-40B4-BE49-F238E27FC236}">
                <a16:creationId xmlns:a16="http://schemas.microsoft.com/office/drawing/2014/main" id="{7FADC786-0922-FCC4-BDB3-984DF4C0F87B}"/>
              </a:ext>
            </a:extLst>
          </p:cNvPr>
          <p:cNvSpPr txBox="1"/>
          <p:nvPr/>
        </p:nvSpPr>
        <p:spPr>
          <a:xfrm>
            <a:off x="2570440" y="1452720"/>
            <a:ext cx="3887382" cy="1477328"/>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Leverage support windows of 1 year (last 3 versions)</a:t>
            </a:r>
          </a:p>
          <a:p>
            <a:pPr algn="l"/>
            <a:r>
              <a:rPr lang="en-US" sz="1600" dirty="0">
                <a:gradFill>
                  <a:gsLst>
                    <a:gs pos="2917">
                      <a:schemeClr val="tx1"/>
                    </a:gs>
                    <a:gs pos="30000">
                      <a:schemeClr val="tx1"/>
                    </a:gs>
                  </a:gsLst>
                  <a:lin ang="5400000" scaled="0"/>
                </a:gradFill>
              </a:rPr>
              <a:t>- Consider additional 1 year of LTS support from AKS with premium tier</a:t>
            </a:r>
          </a:p>
          <a:p>
            <a:pPr algn="l"/>
            <a:endParaRPr lang="en-US" sz="1600" dirty="0">
              <a:gradFill>
                <a:gsLst>
                  <a:gs pos="2917">
                    <a:schemeClr val="tx1"/>
                  </a:gs>
                  <a:gs pos="30000">
                    <a:schemeClr val="tx1"/>
                  </a:gs>
                </a:gsLst>
                <a:lin ang="5400000" scaled="0"/>
              </a:gradFill>
            </a:endParaRPr>
          </a:p>
        </p:txBody>
      </p:sp>
      <p:sp>
        <p:nvSpPr>
          <p:cNvPr id="5" name="TextBox 4">
            <a:extLst>
              <a:ext uri="{FF2B5EF4-FFF2-40B4-BE49-F238E27FC236}">
                <a16:creationId xmlns:a16="http://schemas.microsoft.com/office/drawing/2014/main" id="{16E4C098-119F-735D-934A-B323C72C22E8}"/>
              </a:ext>
            </a:extLst>
          </p:cNvPr>
          <p:cNvSpPr txBox="1"/>
          <p:nvPr/>
        </p:nvSpPr>
        <p:spPr>
          <a:xfrm>
            <a:off x="6756398" y="1329266"/>
            <a:ext cx="4999568" cy="2492990"/>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Check breaking changes from changelog of new version of Kubernetes</a:t>
            </a:r>
          </a:p>
          <a:p>
            <a:pPr marL="457200" indent="-457200" algn="l">
              <a:buFont typeface="+mj-lt"/>
              <a:buAutoNum type="arabicPeriod"/>
            </a:pPr>
            <a:r>
              <a:rPr lang="en-US" sz="1800" dirty="0">
                <a:gradFill>
                  <a:gsLst>
                    <a:gs pos="2917">
                      <a:schemeClr val="tx1"/>
                    </a:gs>
                    <a:gs pos="30000">
                      <a:schemeClr val="tx1"/>
                    </a:gs>
                  </a:gsLst>
                  <a:lin ang="5400000" scaled="0"/>
                </a:gradFill>
              </a:rPr>
              <a:t>Test your workload on AKS cluster with the upgrade</a:t>
            </a:r>
          </a:p>
          <a:p>
            <a:pPr marL="457200" indent="-457200" algn="l">
              <a:buFont typeface="+mj-lt"/>
              <a:buAutoNum type="arabicPeriod"/>
            </a:pPr>
            <a:r>
              <a:rPr lang="en-US" sz="1800" dirty="0">
                <a:gradFill>
                  <a:gsLst>
                    <a:gs pos="2917">
                      <a:schemeClr val="tx1"/>
                    </a:gs>
                    <a:gs pos="30000">
                      <a:schemeClr val="tx1"/>
                    </a:gs>
                  </a:gsLst>
                  <a:lin ang="5400000" scaled="0"/>
                </a:gradFill>
              </a:rPr>
              <a:t>Upgrade Cluster Configuration and </a:t>
            </a:r>
            <a:r>
              <a:rPr lang="en-US" sz="1800" dirty="0" err="1">
                <a:gradFill>
                  <a:gsLst>
                    <a:gs pos="2917">
                      <a:schemeClr val="tx1"/>
                    </a:gs>
                    <a:gs pos="30000">
                      <a:schemeClr val="tx1"/>
                    </a:gs>
                  </a:gsLst>
                  <a:lin ang="5400000" scaled="0"/>
                </a:gradFill>
              </a:rPr>
              <a:t>nodepools</a:t>
            </a:r>
            <a:r>
              <a:rPr lang="en-US" sz="1800" dirty="0">
                <a:gradFill>
                  <a:gsLst>
                    <a:gs pos="2917">
                      <a:schemeClr val="tx1"/>
                    </a:gs>
                    <a:gs pos="30000">
                      <a:schemeClr val="tx1"/>
                    </a:gs>
                  </a:gsLst>
                  <a:lin ang="5400000" scaled="0"/>
                </a:gradFill>
              </a:rPr>
              <a:t> to a supported version of </a:t>
            </a:r>
            <a:r>
              <a:rPr lang="en-US" sz="1800" dirty="0" err="1">
                <a:gradFill>
                  <a:gsLst>
                    <a:gs pos="2917">
                      <a:schemeClr val="tx1"/>
                    </a:gs>
                    <a:gs pos="30000">
                      <a:schemeClr val="tx1"/>
                    </a:gs>
                  </a:gsLst>
                  <a:lin ang="5400000" scaled="0"/>
                </a:gradFill>
              </a:rPr>
              <a:t>Kuberenetes</a:t>
            </a: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8703382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Cluster should have at least one system and one user node pool</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b="0" i="0" dirty="0">
                <a:solidFill>
                  <a:srgbClr val="161616"/>
                </a:solidFill>
                <a:effectLst/>
                <a:latin typeface="Segoe UI" panose="020B0502040204020203" pitchFamily="34" charset="0"/>
              </a:rPr>
              <a:t>Separate Syste</a:t>
            </a:r>
            <a:r>
              <a:rPr lang="en-GB" sz="2000" dirty="0">
                <a:solidFill>
                  <a:srgbClr val="161616"/>
                </a:solidFill>
                <a:latin typeface="Segoe UI" panose="020B0502040204020203" pitchFamily="34" charset="0"/>
              </a:rPr>
              <a:t>m node pool from workload User node pools</a:t>
            </a:r>
            <a:r>
              <a:rPr lang="en-GB" sz="2000" dirty="0">
                <a:gradFill>
                  <a:gsLst>
                    <a:gs pos="2917">
                      <a:schemeClr val="tx1"/>
                    </a:gs>
                    <a:gs pos="30000">
                      <a:schemeClr val="tx1"/>
                    </a:gs>
                  </a:gsLst>
                  <a:lin ang="5400000" scaled="0"/>
                </a:gradFill>
              </a:rPr>
              <a:t>:</a:t>
            </a:r>
          </a:p>
          <a:p>
            <a:pPr marL="342900" indent="-342900">
              <a:buFont typeface="Arial" panose="020B0604020202020204" pitchFamily="34" charset="0"/>
              <a:buChar char="•"/>
            </a:pPr>
            <a:r>
              <a:rPr lang="en-GB" sz="2000" dirty="0">
                <a:hlinkClick r:id="rId3"/>
              </a:rPr>
              <a:t>Use system node pools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C6D37C1C-7CA3-79D7-8E09-F0F3B0071A96}"/>
              </a:ext>
            </a:extLst>
          </p:cNvPr>
          <p:cNvPicPr>
            <a:picLocks noChangeAspect="1"/>
          </p:cNvPicPr>
          <p:nvPr/>
        </p:nvPicPr>
        <p:blipFill>
          <a:blip r:embed="rId4"/>
          <a:stretch>
            <a:fillRect/>
          </a:stretch>
        </p:blipFill>
        <p:spPr>
          <a:xfrm>
            <a:off x="526752" y="1311388"/>
            <a:ext cx="1977561" cy="2270957"/>
          </a:xfrm>
          <a:prstGeom prst="rect">
            <a:avLst/>
          </a:prstGeom>
        </p:spPr>
      </p:pic>
      <p:sp>
        <p:nvSpPr>
          <p:cNvPr id="3" name="TextBox 2">
            <a:extLst>
              <a:ext uri="{FF2B5EF4-FFF2-40B4-BE49-F238E27FC236}">
                <a16:creationId xmlns:a16="http://schemas.microsoft.com/office/drawing/2014/main" id="{9C9548D3-EF81-2CC9-267E-81D93814C929}"/>
              </a:ext>
            </a:extLst>
          </p:cNvPr>
          <p:cNvSpPr txBox="1"/>
          <p:nvPr/>
        </p:nvSpPr>
        <p:spPr>
          <a:xfrm>
            <a:off x="2570440" y="1452720"/>
            <a:ext cx="3887382" cy="2462213"/>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Isolate </a:t>
            </a:r>
            <a:r>
              <a:rPr lang="en-US" sz="1600" dirty="0" err="1">
                <a:gradFill>
                  <a:gsLst>
                    <a:gs pos="2917">
                      <a:schemeClr val="tx1"/>
                    </a:gs>
                    <a:gs pos="30000">
                      <a:schemeClr val="tx1"/>
                    </a:gs>
                  </a:gsLst>
                  <a:lin ang="5400000" scaled="0"/>
                </a:gradFill>
              </a:rPr>
              <a:t>crytical</a:t>
            </a:r>
            <a:r>
              <a:rPr lang="en-US" sz="1600" dirty="0">
                <a:gradFill>
                  <a:gsLst>
                    <a:gs pos="2917">
                      <a:schemeClr val="tx1"/>
                    </a:gs>
                    <a:gs pos="30000">
                      <a:schemeClr val="tx1"/>
                    </a:gs>
                  </a:gsLst>
                  <a:lin ang="5400000" scaled="0"/>
                </a:gradFill>
              </a:rPr>
              <a:t> system pods (running on system </a:t>
            </a:r>
            <a:r>
              <a:rPr lang="en-US" sz="1600" dirty="0" err="1">
                <a:gradFill>
                  <a:gsLst>
                    <a:gs pos="2917">
                      <a:schemeClr val="tx1"/>
                    </a:gs>
                    <a:gs pos="30000">
                      <a:schemeClr val="tx1"/>
                    </a:gs>
                  </a:gsLst>
                  <a:lin ang="5400000" scaled="0"/>
                </a:gradFill>
              </a:rPr>
              <a:t>nodepool</a:t>
            </a:r>
            <a:r>
              <a:rPr lang="en-US" sz="1600" dirty="0">
                <a:gradFill>
                  <a:gsLst>
                    <a:gs pos="2917">
                      <a:schemeClr val="tx1"/>
                    </a:gs>
                    <a:gs pos="30000">
                      <a:schemeClr val="tx1"/>
                    </a:gs>
                  </a:gsLst>
                  <a:lin ang="5400000" scaled="0"/>
                </a:gradFill>
              </a:rPr>
              <a:t>) from application pods (running on user </a:t>
            </a:r>
            <a:r>
              <a:rPr lang="en-US" sz="1600" dirty="0" err="1">
                <a:gradFill>
                  <a:gsLst>
                    <a:gs pos="2917">
                      <a:schemeClr val="tx1"/>
                    </a:gs>
                    <a:gs pos="30000">
                      <a:schemeClr val="tx1"/>
                    </a:gs>
                  </a:gsLst>
                  <a:lin ang="5400000" scaled="0"/>
                </a:gradFill>
              </a:rPr>
              <a:t>nodepool</a:t>
            </a:r>
            <a:r>
              <a:rPr lang="en-US" sz="1600" dirty="0">
                <a:gradFill>
                  <a:gsLst>
                    <a:gs pos="2917">
                      <a:schemeClr val="tx1"/>
                    </a:gs>
                    <a:gs pos="30000">
                      <a:schemeClr val="tx1"/>
                    </a:gs>
                  </a:gsLst>
                  <a:lin ang="5400000" scaled="0"/>
                </a:gradFill>
              </a:rPr>
              <a:t>)</a:t>
            </a:r>
            <a:br>
              <a:rPr lang="en-US" sz="1600" dirty="0">
                <a:gradFill>
                  <a:gsLst>
                    <a:gs pos="2917">
                      <a:schemeClr val="tx1"/>
                    </a:gs>
                    <a:gs pos="30000">
                      <a:schemeClr val="tx1"/>
                    </a:gs>
                  </a:gsLst>
                  <a:lin ang="5400000" scaled="0"/>
                </a:gradFill>
              </a:rPr>
            </a:b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Dedicate specific user </a:t>
            </a:r>
            <a:r>
              <a:rPr lang="en-US" sz="1600" dirty="0" err="1">
                <a:gradFill>
                  <a:gsLst>
                    <a:gs pos="2917">
                      <a:schemeClr val="tx1"/>
                    </a:gs>
                    <a:gs pos="30000">
                      <a:schemeClr val="tx1"/>
                    </a:gs>
                  </a:gsLst>
                  <a:lin ang="5400000" scaled="0"/>
                </a:gradFill>
              </a:rPr>
              <a:t>nodepool</a:t>
            </a:r>
            <a:r>
              <a:rPr lang="en-US" sz="1600" dirty="0">
                <a:gradFill>
                  <a:gsLst>
                    <a:gs pos="2917">
                      <a:schemeClr val="tx1"/>
                    </a:gs>
                    <a:gs pos="30000">
                      <a:schemeClr val="tx1"/>
                    </a:gs>
                  </a:gsLst>
                  <a:lin ang="5400000" scaled="0"/>
                </a:gradFill>
              </a:rPr>
              <a:t> that fits your application requirements: VM Size and instance count</a:t>
            </a:r>
          </a:p>
          <a:p>
            <a:pPr algn="l"/>
            <a:endParaRPr lang="en-US" sz="1600" dirty="0">
              <a:gradFill>
                <a:gsLst>
                  <a:gs pos="2917">
                    <a:schemeClr val="tx1"/>
                  </a:gs>
                  <a:gs pos="30000">
                    <a:schemeClr val="tx1"/>
                  </a:gs>
                </a:gsLst>
                <a:lin ang="5400000" scaled="0"/>
              </a:gradFill>
            </a:endParaRPr>
          </a:p>
          <a:p>
            <a:pPr algn="l"/>
            <a:endParaRPr lang="en-US" sz="1600" dirty="0">
              <a:gradFill>
                <a:gsLst>
                  <a:gs pos="2917">
                    <a:schemeClr val="tx1"/>
                  </a:gs>
                  <a:gs pos="30000">
                    <a:schemeClr val="tx1"/>
                  </a:gs>
                </a:gsLst>
                <a:lin ang="5400000" scaled="0"/>
              </a:gradFill>
            </a:endParaRPr>
          </a:p>
        </p:txBody>
      </p:sp>
      <p:sp>
        <p:nvSpPr>
          <p:cNvPr id="4" name="TextBox 3">
            <a:extLst>
              <a:ext uri="{FF2B5EF4-FFF2-40B4-BE49-F238E27FC236}">
                <a16:creationId xmlns:a16="http://schemas.microsoft.com/office/drawing/2014/main" id="{E85A94DB-0FC7-186F-F924-C397628546A3}"/>
              </a:ext>
            </a:extLst>
          </p:cNvPr>
          <p:cNvSpPr txBox="1"/>
          <p:nvPr/>
        </p:nvSpPr>
        <p:spPr>
          <a:xfrm>
            <a:off x="6756398" y="1329266"/>
            <a:ext cx="4999568" cy="1661993"/>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Create a user node pool</a:t>
            </a:r>
          </a:p>
          <a:p>
            <a:pPr marL="457200" indent="-457200" algn="l">
              <a:buFont typeface="+mj-lt"/>
              <a:buAutoNum type="arabicPeriod"/>
            </a:pPr>
            <a:r>
              <a:rPr lang="en-US" sz="1800" dirty="0">
                <a:gradFill>
                  <a:gsLst>
                    <a:gs pos="2917">
                      <a:schemeClr val="tx1"/>
                    </a:gs>
                    <a:gs pos="30000">
                      <a:schemeClr val="tx1"/>
                    </a:gs>
                  </a:gsLst>
                  <a:lin ang="5400000" scaled="0"/>
                </a:gradFill>
              </a:rPr>
              <a:t>Modify deployment (YAML, </a:t>
            </a:r>
            <a:r>
              <a:rPr lang="en-US" sz="1800" dirty="0" err="1">
                <a:gradFill>
                  <a:gsLst>
                    <a:gs pos="2917">
                      <a:schemeClr val="tx1"/>
                    </a:gs>
                    <a:gs pos="30000">
                      <a:schemeClr val="tx1"/>
                    </a:gs>
                  </a:gsLst>
                  <a:lin ang="5400000" scaled="0"/>
                </a:gradFill>
              </a:rPr>
              <a:t>Heml</a:t>
            </a:r>
            <a:r>
              <a:rPr lang="en-US" sz="1800" dirty="0">
                <a:gradFill>
                  <a:gsLst>
                    <a:gs pos="2917">
                      <a:schemeClr val="tx1"/>
                    </a:gs>
                    <a:gs pos="30000">
                      <a:schemeClr val="tx1"/>
                    </a:gs>
                  </a:gsLst>
                  <a:lin ang="5400000" scaled="0"/>
                </a:gradFill>
              </a:rPr>
              <a:t>, CI/CD) of your application to target the new node pool (i.e. using labels) </a:t>
            </a:r>
          </a:p>
        </p:txBody>
      </p:sp>
    </p:spTree>
    <p:extLst>
      <p:ext uri="{BB962C8B-B14F-4D97-AF65-F5344CB8AC3E}">
        <p14:creationId xmlns:p14="http://schemas.microsoft.com/office/powerpoint/2010/main" val="179439250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Azure Overlay network should be used</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GB" sz="2000" b="0" i="0" dirty="0">
                <a:solidFill>
                  <a:srgbClr val="161616"/>
                </a:solidFill>
                <a:effectLst/>
                <a:latin typeface="Segoe UI" panose="020B0502040204020203" pitchFamily="34" charset="0"/>
              </a:rPr>
              <a:t>Configure Azure CNI Overlay network plugin</a:t>
            </a:r>
            <a:r>
              <a:rPr lang="en-GB" sz="2000" dirty="0">
                <a:gradFill>
                  <a:gsLst>
                    <a:gs pos="2917">
                      <a:schemeClr val="tx1"/>
                    </a:gs>
                    <a:gs pos="30000">
                      <a:schemeClr val="tx1"/>
                    </a:gs>
                  </a:gsLst>
                  <a:lin ang="5400000" scaled="0"/>
                </a:gradFill>
              </a:rPr>
              <a:t>:</a:t>
            </a:r>
          </a:p>
          <a:p>
            <a:pPr marL="342900" indent="-342900">
              <a:buFont typeface="Arial" panose="020B0604020202020204" pitchFamily="34" charset="0"/>
              <a:buChar char="•"/>
            </a:pPr>
            <a:r>
              <a:rPr lang="en-US" sz="2000" dirty="0">
                <a:hlinkClick r:id="rId3"/>
              </a:rPr>
              <a:t>Configure Azure CNI Overlay networking in Azure Kubernetes Service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F728AF8B-DC49-15C2-ACC6-B3FFE057BE7C}"/>
              </a:ext>
            </a:extLst>
          </p:cNvPr>
          <p:cNvPicPr>
            <a:picLocks noChangeAspect="1"/>
          </p:cNvPicPr>
          <p:nvPr/>
        </p:nvPicPr>
        <p:blipFill>
          <a:blip r:embed="rId4"/>
          <a:stretch>
            <a:fillRect/>
          </a:stretch>
        </p:blipFill>
        <p:spPr>
          <a:xfrm>
            <a:off x="397428" y="1111365"/>
            <a:ext cx="1897544" cy="2213802"/>
          </a:xfrm>
          <a:prstGeom prst="rect">
            <a:avLst/>
          </a:prstGeom>
        </p:spPr>
      </p:pic>
      <p:sp>
        <p:nvSpPr>
          <p:cNvPr id="3" name="TextBox 2">
            <a:extLst>
              <a:ext uri="{FF2B5EF4-FFF2-40B4-BE49-F238E27FC236}">
                <a16:creationId xmlns:a16="http://schemas.microsoft.com/office/drawing/2014/main" id="{313B1B8B-732C-246E-53D4-FF5604DF1170}"/>
              </a:ext>
            </a:extLst>
          </p:cNvPr>
          <p:cNvSpPr txBox="1"/>
          <p:nvPr/>
        </p:nvSpPr>
        <p:spPr>
          <a:xfrm>
            <a:off x="2570440" y="1452720"/>
            <a:ext cx="3887382" cy="1231106"/>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Prevent IP address exhaustion when Azure CNI is used and you need to scale the workload</a:t>
            </a:r>
          </a:p>
          <a:p>
            <a:pPr algn="l"/>
            <a:r>
              <a:rPr lang="en-US" sz="1600" dirty="0">
                <a:gradFill>
                  <a:gsLst>
                    <a:gs pos="2917">
                      <a:schemeClr val="tx1"/>
                    </a:gs>
                    <a:gs pos="30000">
                      <a:schemeClr val="tx1"/>
                    </a:gs>
                  </a:gsLst>
                  <a:lin ang="5400000" scaled="0"/>
                </a:gradFill>
              </a:rPr>
              <a:t>- Limited IP address space in the VNET</a:t>
            </a:r>
          </a:p>
        </p:txBody>
      </p:sp>
      <p:sp>
        <p:nvSpPr>
          <p:cNvPr id="4" name="TextBox 3">
            <a:extLst>
              <a:ext uri="{FF2B5EF4-FFF2-40B4-BE49-F238E27FC236}">
                <a16:creationId xmlns:a16="http://schemas.microsoft.com/office/drawing/2014/main" id="{86A55FC8-2509-049A-ED46-4036EC628CE5}"/>
              </a:ext>
            </a:extLst>
          </p:cNvPr>
          <p:cNvSpPr txBox="1"/>
          <p:nvPr/>
        </p:nvSpPr>
        <p:spPr>
          <a:xfrm>
            <a:off x="6756398" y="1329266"/>
            <a:ext cx="4999568" cy="2215991"/>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Make sure that most of the pod communication happens </a:t>
            </a:r>
            <a:r>
              <a:rPr lang="en-US" sz="1800" dirty="0" err="1">
                <a:gradFill>
                  <a:gsLst>
                    <a:gs pos="2917">
                      <a:schemeClr val="tx1"/>
                    </a:gs>
                    <a:gs pos="30000">
                      <a:schemeClr val="tx1"/>
                    </a:gs>
                  </a:gsLst>
                  <a:lin ang="5400000" scaled="0"/>
                </a:gradFill>
              </a:rPr>
              <a:t>whitin</a:t>
            </a:r>
            <a:r>
              <a:rPr lang="en-US" sz="1800" dirty="0">
                <a:gradFill>
                  <a:gsLst>
                    <a:gs pos="2917">
                      <a:schemeClr val="tx1"/>
                    </a:gs>
                    <a:gs pos="30000">
                      <a:schemeClr val="tx1"/>
                    </a:gs>
                  </a:gsLst>
                  <a:lin ang="5400000" scaled="0"/>
                </a:gradFill>
              </a:rPr>
              <a:t> the cluster</a:t>
            </a:r>
          </a:p>
          <a:p>
            <a:pPr marL="457200" indent="-457200" algn="l">
              <a:buFont typeface="+mj-lt"/>
              <a:buAutoNum type="arabicPeriod"/>
            </a:pPr>
            <a:r>
              <a:rPr lang="en-US" sz="1800" dirty="0">
                <a:gradFill>
                  <a:gsLst>
                    <a:gs pos="2917">
                      <a:schemeClr val="tx1"/>
                    </a:gs>
                    <a:gs pos="30000">
                      <a:schemeClr val="tx1"/>
                    </a:gs>
                  </a:gsLst>
                  <a:lin ang="5400000" scaled="0"/>
                </a:gradFill>
              </a:rPr>
              <a:t>Make sure you don’t need  AKS features, such as virtual nodes</a:t>
            </a:r>
          </a:p>
          <a:p>
            <a:pPr marL="457200" indent="-457200" algn="l">
              <a:buFont typeface="+mj-lt"/>
              <a:buAutoNum type="arabicPeriod"/>
            </a:pPr>
            <a:r>
              <a:rPr lang="en-US" sz="1800" dirty="0">
                <a:gradFill>
                  <a:gsLst>
                    <a:gs pos="2917">
                      <a:schemeClr val="tx1"/>
                    </a:gs>
                    <a:gs pos="30000">
                      <a:schemeClr val="tx1"/>
                    </a:gs>
                  </a:gsLst>
                  <a:lin ang="5400000" scaled="0"/>
                </a:gradFill>
              </a:rPr>
              <a:t>Upgrade the cluster to the Azure CNI Overlay network plugin</a:t>
            </a:r>
          </a:p>
        </p:txBody>
      </p:sp>
    </p:spTree>
    <p:extLst>
      <p:ext uri="{BB962C8B-B14F-4D97-AF65-F5344CB8AC3E}">
        <p14:creationId xmlns:p14="http://schemas.microsoft.com/office/powerpoint/2010/main" val="36209605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spc="-50" dirty="0">
                <a:solidFill>
                  <a:schemeClr val="tx1">
                    <a:lumMod val="75000"/>
                  </a:schemeClr>
                </a:solidFill>
                <a:latin typeface="Segoe UI Semibold" panose="020B0702040204020203" pitchFamily="34" charset="0"/>
                <a:cs typeface="Segoe UI Semibold" panose="020B0702040204020203" pitchFamily="34" charset="0"/>
              </a:rPr>
              <a:t>AKS Assessment – Leverage Ephemeral OS Disk</a:t>
            </a:r>
            <a:endParaRPr lang="en-US" sz="280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A9D4E103-D0A6-6149-2D62-070286FCB9AA}"/>
              </a:ext>
            </a:extLst>
          </p:cNvPr>
          <p:cNvSpPr txBox="1"/>
          <p:nvPr/>
        </p:nvSpPr>
        <p:spPr>
          <a:xfrm>
            <a:off x="588263" y="5477470"/>
            <a:ext cx="10790937" cy="923330"/>
          </a:xfrm>
          <a:prstGeom prst="rect">
            <a:avLst/>
          </a:prstGeom>
          <a:noFill/>
        </p:spPr>
        <p:txBody>
          <a:bodyPr wrap="square" lIns="0" tIns="0" rIns="0" bIns="0" rtlCol="0">
            <a:spAutoFit/>
          </a:bodyPr>
          <a:lstStyle/>
          <a:p>
            <a:pPr algn="l"/>
            <a:r>
              <a:rPr lang="en-US" sz="2000" b="0" i="0" dirty="0">
                <a:solidFill>
                  <a:srgbClr val="161616"/>
                </a:solidFill>
                <a:effectLst/>
                <a:latin typeface="Segoe UI" panose="020B0502040204020203" pitchFamily="34" charset="0"/>
              </a:rPr>
              <a:t>Configure the cluster to use ephemeral OS disks</a:t>
            </a:r>
            <a:r>
              <a:rPr lang="en-GB" sz="2000" dirty="0">
                <a:gradFill>
                  <a:gsLst>
                    <a:gs pos="2917">
                      <a:schemeClr val="tx1"/>
                    </a:gs>
                    <a:gs pos="30000">
                      <a:schemeClr val="tx1"/>
                    </a:gs>
                  </a:gsLst>
                  <a:lin ang="5400000" scaled="0"/>
                </a:gradFill>
              </a:rPr>
              <a:t>:</a:t>
            </a:r>
          </a:p>
          <a:p>
            <a:pPr marL="342900" indent="-342900">
              <a:buFont typeface="Arial" panose="020B0604020202020204" pitchFamily="34" charset="0"/>
              <a:buChar char="•"/>
            </a:pPr>
            <a:r>
              <a:rPr lang="en-US" sz="2000" dirty="0">
                <a:hlinkClick r:id="rId3"/>
              </a:rPr>
              <a:t>Cluster configuration in Azure Kubernetes Services (AKS) - Azure Kubernetes Service | Microsoft Learn</a:t>
            </a:r>
            <a:endParaRPr lang="en-GB" sz="2000" dirty="0">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A536968D-2167-4B24-4A9B-6FB85EEA3A69}"/>
              </a:ext>
            </a:extLst>
          </p:cNvPr>
          <p:cNvPicPr>
            <a:picLocks noChangeAspect="1"/>
          </p:cNvPicPr>
          <p:nvPr/>
        </p:nvPicPr>
        <p:blipFill>
          <a:blip r:embed="rId4"/>
          <a:stretch>
            <a:fillRect/>
          </a:stretch>
        </p:blipFill>
        <p:spPr>
          <a:xfrm>
            <a:off x="482734" y="1011198"/>
            <a:ext cx="1794666" cy="2122354"/>
          </a:xfrm>
          <a:prstGeom prst="rect">
            <a:avLst/>
          </a:prstGeom>
        </p:spPr>
      </p:pic>
      <p:sp>
        <p:nvSpPr>
          <p:cNvPr id="3" name="TextBox 2">
            <a:extLst>
              <a:ext uri="{FF2B5EF4-FFF2-40B4-BE49-F238E27FC236}">
                <a16:creationId xmlns:a16="http://schemas.microsoft.com/office/drawing/2014/main" id="{739E89FD-6C1D-65E3-CD78-71DC3F9BF01D}"/>
              </a:ext>
            </a:extLst>
          </p:cNvPr>
          <p:cNvSpPr txBox="1"/>
          <p:nvPr/>
        </p:nvSpPr>
        <p:spPr>
          <a:xfrm>
            <a:off x="2570440" y="1452720"/>
            <a:ext cx="3887382" cy="2215991"/>
          </a:xfrm>
          <a:prstGeom prst="rect">
            <a:avLst/>
          </a:prstGeom>
          <a:noFill/>
        </p:spPr>
        <p:txBody>
          <a:bodyPr wrap="square" lIns="0" tIns="0" rIns="0" bIns="0" rtlCol="0">
            <a:spAutoFit/>
          </a:bodyPr>
          <a:lstStyle/>
          <a:p>
            <a:pPr algn="l"/>
            <a:r>
              <a:rPr lang="en-US" sz="1600" b="1" dirty="0">
                <a:gradFill>
                  <a:gsLst>
                    <a:gs pos="2917">
                      <a:schemeClr val="tx1"/>
                    </a:gs>
                    <a:gs pos="30000">
                      <a:schemeClr val="tx1"/>
                    </a:gs>
                  </a:gsLst>
                  <a:lin ang="5400000" scaled="0"/>
                </a:gradFill>
              </a:rPr>
              <a:t>Benefits:</a:t>
            </a:r>
            <a:endParaRPr lang="en-US" sz="1600" dirty="0">
              <a:gradFill>
                <a:gsLst>
                  <a:gs pos="2917">
                    <a:schemeClr val="tx1"/>
                  </a:gs>
                  <a:gs pos="30000">
                    <a:schemeClr val="tx1"/>
                  </a:gs>
                </a:gsLst>
                <a:lin ang="5400000" scaled="0"/>
              </a:gradFill>
            </a:endParaRPr>
          </a:p>
          <a:p>
            <a:pPr algn="l"/>
            <a:r>
              <a:rPr lang="en-US" sz="1600" dirty="0">
                <a:gradFill>
                  <a:gsLst>
                    <a:gs pos="2917">
                      <a:schemeClr val="tx1"/>
                    </a:gs>
                    <a:gs pos="30000">
                      <a:schemeClr val="tx1"/>
                    </a:gs>
                  </a:gsLst>
                  <a:lin ang="5400000" scaled="0"/>
                </a:gradFill>
              </a:rPr>
              <a:t>- Ephemeral OS disks are created on the local virtual machine (VM) storage and not saved to the remote Azure Storage, as when using managed OS disks</a:t>
            </a:r>
          </a:p>
          <a:p>
            <a:pPr algn="l"/>
            <a:r>
              <a:rPr lang="en-US" sz="1600" dirty="0">
                <a:gradFill>
                  <a:gsLst>
                    <a:gs pos="2917">
                      <a:schemeClr val="tx1"/>
                    </a:gs>
                    <a:gs pos="30000">
                      <a:schemeClr val="tx1"/>
                    </a:gs>
                  </a:gsLst>
                  <a:lin ang="5400000" scaled="0"/>
                </a:gradFill>
              </a:rPr>
              <a:t>- Ideal for stateless applications and workloads</a:t>
            </a:r>
          </a:p>
          <a:p>
            <a:pPr algn="l"/>
            <a:r>
              <a:rPr lang="en-US" sz="1600" dirty="0">
                <a:gradFill>
                  <a:gsLst>
                    <a:gs pos="2917">
                      <a:schemeClr val="tx1"/>
                    </a:gs>
                    <a:gs pos="30000">
                      <a:schemeClr val="tx1"/>
                    </a:gs>
                  </a:gsLst>
                  <a:lin ang="5400000" scaled="0"/>
                </a:gradFill>
              </a:rPr>
              <a:t>- Lower latency, similar to a temporary disk</a:t>
            </a:r>
          </a:p>
          <a:p>
            <a:pPr algn="l"/>
            <a:endParaRPr lang="en-US" sz="1600" dirty="0">
              <a:gradFill>
                <a:gsLst>
                  <a:gs pos="2917">
                    <a:schemeClr val="tx1"/>
                  </a:gs>
                  <a:gs pos="30000">
                    <a:schemeClr val="tx1"/>
                  </a:gs>
                </a:gsLst>
                <a:lin ang="5400000" scaled="0"/>
              </a:gradFill>
            </a:endParaRPr>
          </a:p>
        </p:txBody>
      </p:sp>
      <p:sp>
        <p:nvSpPr>
          <p:cNvPr id="4" name="TextBox 3">
            <a:extLst>
              <a:ext uri="{FF2B5EF4-FFF2-40B4-BE49-F238E27FC236}">
                <a16:creationId xmlns:a16="http://schemas.microsoft.com/office/drawing/2014/main" id="{852D8308-DE02-B287-AF6A-721C377A5729}"/>
              </a:ext>
            </a:extLst>
          </p:cNvPr>
          <p:cNvSpPr txBox="1"/>
          <p:nvPr/>
        </p:nvSpPr>
        <p:spPr>
          <a:xfrm>
            <a:off x="6756398" y="1329266"/>
            <a:ext cx="4999568" cy="1384995"/>
          </a:xfrm>
          <a:prstGeom prst="rect">
            <a:avLst/>
          </a:prstGeom>
          <a:noFill/>
        </p:spPr>
        <p:txBody>
          <a:bodyPr wrap="square" lIns="0" tIns="0" rIns="0" bIns="0" rtlCol="0">
            <a:spAutoFit/>
          </a:bodyPr>
          <a:lstStyle/>
          <a:p>
            <a:pPr algn="l"/>
            <a:r>
              <a:rPr lang="en-US" sz="1800" b="1" dirty="0">
                <a:gradFill>
                  <a:gsLst>
                    <a:gs pos="2917">
                      <a:schemeClr val="tx1"/>
                    </a:gs>
                    <a:gs pos="30000">
                      <a:schemeClr val="tx1"/>
                    </a:gs>
                  </a:gsLst>
                  <a:lin ang="5400000" scaled="0"/>
                </a:gradFill>
              </a:rPr>
              <a:t>Actions:</a:t>
            </a:r>
          </a:p>
          <a:p>
            <a:pPr algn="l"/>
            <a:endParaRPr lang="en-US" sz="1800" dirty="0">
              <a:gradFill>
                <a:gsLst>
                  <a:gs pos="2917">
                    <a:schemeClr val="tx1"/>
                  </a:gs>
                  <a:gs pos="30000">
                    <a:schemeClr val="tx1"/>
                  </a:gs>
                </a:gsLst>
                <a:lin ang="5400000" scaled="0"/>
              </a:gradFill>
            </a:endParaRPr>
          </a:p>
          <a:p>
            <a:pPr marL="457200" indent="-457200" algn="l">
              <a:buFont typeface="+mj-lt"/>
              <a:buAutoNum type="arabicPeriod"/>
            </a:pPr>
            <a:r>
              <a:rPr lang="en-US" sz="1800" dirty="0">
                <a:gradFill>
                  <a:gsLst>
                    <a:gs pos="2917">
                      <a:schemeClr val="tx1"/>
                    </a:gs>
                    <a:gs pos="30000">
                      <a:schemeClr val="tx1"/>
                    </a:gs>
                  </a:gsLst>
                  <a:lin ang="5400000" scaled="0"/>
                </a:gradFill>
              </a:rPr>
              <a:t>Configure a new </a:t>
            </a:r>
            <a:r>
              <a:rPr lang="en-US" sz="1800" dirty="0" err="1">
                <a:gradFill>
                  <a:gsLst>
                    <a:gs pos="2917">
                      <a:schemeClr val="tx1"/>
                    </a:gs>
                    <a:gs pos="30000">
                      <a:schemeClr val="tx1"/>
                    </a:gs>
                  </a:gsLst>
                  <a:lin ang="5400000" scaled="0"/>
                </a:gradFill>
              </a:rPr>
              <a:t>nodepool</a:t>
            </a:r>
            <a:r>
              <a:rPr lang="en-US" sz="1800" dirty="0">
                <a:gradFill>
                  <a:gsLst>
                    <a:gs pos="2917">
                      <a:schemeClr val="tx1"/>
                    </a:gs>
                    <a:gs pos="30000">
                      <a:schemeClr val="tx1"/>
                    </a:gs>
                  </a:gsLst>
                  <a:lin ang="5400000" scaled="0"/>
                </a:gradFill>
              </a:rPr>
              <a:t> to use Ephemeral OS disk</a:t>
            </a:r>
          </a:p>
          <a:p>
            <a:pPr marL="457200" indent="-457200" algn="l">
              <a:buFont typeface="+mj-lt"/>
              <a:buAutoNum type="arabicPeriod"/>
            </a:pPr>
            <a:r>
              <a:rPr lang="en-US" sz="1800" dirty="0">
                <a:gradFill>
                  <a:gsLst>
                    <a:gs pos="2917">
                      <a:schemeClr val="tx1"/>
                    </a:gs>
                    <a:gs pos="30000">
                      <a:schemeClr val="tx1"/>
                    </a:gs>
                  </a:gsLst>
                  <a:lin ang="5400000" scaled="0"/>
                </a:gradFill>
              </a:rPr>
              <a:t>Migrate the workload on the new </a:t>
            </a:r>
            <a:r>
              <a:rPr lang="en-US" sz="1800" dirty="0" err="1">
                <a:gradFill>
                  <a:gsLst>
                    <a:gs pos="2917">
                      <a:schemeClr val="tx1"/>
                    </a:gs>
                    <a:gs pos="30000">
                      <a:schemeClr val="tx1"/>
                    </a:gs>
                  </a:gsLst>
                  <a:lin ang="5400000" scaled="0"/>
                </a:gradFill>
              </a:rPr>
              <a:t>nodepool</a:t>
            </a:r>
            <a:endParaRPr lang="en-US" sz="1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7839891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BF15BD-001C-49B3-9A01-B39DEDA47564}"/>
              </a:ext>
            </a:extLst>
          </p:cNvPr>
          <p:cNvSpPr>
            <a:spLocks noGrp="1"/>
          </p:cNvSpPr>
          <p:nvPr>
            <p:ph type="title"/>
          </p:nvPr>
        </p:nvSpPr>
        <p:spPr>
          <a:xfrm>
            <a:off x="584200" y="2305840"/>
            <a:ext cx="3468956" cy="3963193"/>
          </a:xfrm>
        </p:spPr>
        <p:txBody>
          <a:bodyPr/>
          <a:lstStyle/>
          <a:p>
            <a:r>
              <a:rPr lang="en-US" dirty="0"/>
              <a:t>Next steps</a:t>
            </a:r>
          </a:p>
        </p:txBody>
      </p:sp>
      <p:sp>
        <p:nvSpPr>
          <p:cNvPr id="2" name="Text Placeholder 1">
            <a:extLst>
              <a:ext uri="{FF2B5EF4-FFF2-40B4-BE49-F238E27FC236}">
                <a16:creationId xmlns:a16="http://schemas.microsoft.com/office/drawing/2014/main" id="{0D56EC12-3EA2-491D-9684-C340268D1F2D}"/>
              </a:ext>
            </a:extLst>
          </p:cNvPr>
          <p:cNvSpPr>
            <a:spLocks noGrp="1"/>
          </p:cNvSpPr>
          <p:nvPr>
            <p:ph type="body" sz="quarter" idx="10"/>
          </p:nvPr>
        </p:nvSpPr>
        <p:spPr>
          <a:xfrm>
            <a:off x="4646104" y="2447038"/>
            <a:ext cx="6961188" cy="369332"/>
          </a:xfrm>
        </p:spPr>
        <p:txBody>
          <a:bodyPr/>
          <a:lstStyle/>
          <a:p>
            <a:r>
              <a:rPr lang="en-GB" i="1" dirty="0"/>
              <a:t>Insert here next steps</a:t>
            </a:r>
          </a:p>
        </p:txBody>
      </p:sp>
    </p:spTree>
    <p:extLst>
      <p:ext uri="{BB962C8B-B14F-4D97-AF65-F5344CB8AC3E}">
        <p14:creationId xmlns:p14="http://schemas.microsoft.com/office/powerpoint/2010/main" val="331450583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7A95E-B526-43BA-B0D4-556CD6D03C4C}"/>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AU" dirty="0"/>
              <a:t>Thank you</a:t>
            </a:r>
          </a:p>
        </p:txBody>
      </p:sp>
    </p:spTree>
    <p:extLst>
      <p:ext uri="{BB962C8B-B14F-4D97-AF65-F5344CB8AC3E}">
        <p14:creationId xmlns:p14="http://schemas.microsoft.com/office/powerpoint/2010/main" val="33358373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solidFill>
                  <a:schemeClr val="tx1">
                    <a:lumMod val="75000"/>
                  </a:schemeClr>
                </a:solidFill>
                <a:latin typeface="Segoe UI Semibold" panose="020B0702040204020203" pitchFamily="34" charset="0"/>
                <a:cs typeface="Segoe UI Semibold" panose="020B0702040204020203" pitchFamily="34" charset="0"/>
              </a:rPr>
              <a:t>Kubernetes statistics</a:t>
            </a:r>
            <a:endParaRPr lang="en-US" dirty="0">
              <a:latin typeface="Segoe UI Semibold" panose="020B0702040204020203" pitchFamily="34" charset="0"/>
              <a:cs typeface="Segoe UI Semibold" panose="020B0702040204020203" pitchFamily="34" charset="0"/>
            </a:endParaRPr>
          </a:p>
        </p:txBody>
      </p:sp>
      <p:sp>
        <p:nvSpPr>
          <p:cNvPr id="3" name="TextBox 2">
            <a:extLst>
              <a:ext uri="{FF2B5EF4-FFF2-40B4-BE49-F238E27FC236}">
                <a16:creationId xmlns:a16="http://schemas.microsoft.com/office/drawing/2014/main" id="{EB0EF1DD-C4B8-5E4D-241C-AB880D6D6124}"/>
              </a:ext>
            </a:extLst>
          </p:cNvPr>
          <p:cNvSpPr txBox="1"/>
          <p:nvPr/>
        </p:nvSpPr>
        <p:spPr>
          <a:xfrm>
            <a:off x="588263" y="1320800"/>
            <a:ext cx="11018520" cy="4001095"/>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GB" sz="2000" b="0" i="0" dirty="0">
                <a:solidFill>
                  <a:srgbClr val="212121"/>
                </a:solidFill>
                <a:effectLst/>
              </a:rPr>
              <a:t>According to a forecast by </a:t>
            </a:r>
            <a:r>
              <a:rPr lang="en-GB" sz="2000" b="0" i="0" u="none" strike="noStrike" dirty="0">
                <a:effectLst/>
                <a:hlinkClick r:id="rId3"/>
              </a:rPr>
              <a:t>Research and Markets</a:t>
            </a:r>
            <a:r>
              <a:rPr lang="en-GB" sz="2000" b="0" i="0" dirty="0">
                <a:solidFill>
                  <a:srgbClr val="212121"/>
                </a:solidFill>
                <a:effectLst/>
              </a:rPr>
              <a:t>, the global Kubernetes market is expected to experience remarkable growth, projected to increase from USD 1.8 billion in 2022 to USD 7.8 billion by 2030, exhibiting an impressive Compound Annual Growth Rate (CAGR) of 23.40% during the forecast period.</a:t>
            </a:r>
          </a:p>
          <a:p>
            <a:pPr marL="342900" indent="-342900" algn="l">
              <a:buFont typeface="Arial" panose="020B0604020202020204" pitchFamily="34" charset="0"/>
              <a:buChar char="•"/>
            </a:pPr>
            <a:r>
              <a:rPr lang="en-GB" sz="2000" b="0" i="0" dirty="0">
                <a:solidFill>
                  <a:srgbClr val="212121"/>
                </a:solidFill>
                <a:effectLst/>
              </a:rPr>
              <a:t>Over 50% percent of Fortune 100 companies have adopted Kubernetes, making it the container orchestration platform of </a:t>
            </a:r>
            <a:r>
              <a:rPr lang="en-GB" sz="2000" b="0" i="0" u="none" strike="noStrike" dirty="0">
                <a:effectLst/>
                <a:hlinkClick r:id="rId4"/>
              </a:rPr>
              <a:t>preference in the enterprise</a:t>
            </a:r>
            <a:r>
              <a:rPr lang="en-GB" sz="2000" b="0" i="0" dirty="0">
                <a:solidFill>
                  <a:srgbClr val="212121"/>
                </a:solidFill>
                <a:effectLst/>
              </a:rPr>
              <a:t>. </a:t>
            </a:r>
            <a:endParaRPr lang="en-GB" sz="2000" dirty="0">
              <a:solidFill>
                <a:srgbClr val="212121"/>
              </a:solidFill>
            </a:endParaRPr>
          </a:p>
          <a:p>
            <a:pPr marL="342900" indent="-342900" algn="l">
              <a:buFont typeface="Arial" panose="020B0604020202020204" pitchFamily="34" charset="0"/>
              <a:buChar char="•"/>
            </a:pPr>
            <a:r>
              <a:rPr lang="en-GB" sz="2000" b="0" i="0" dirty="0">
                <a:solidFill>
                  <a:srgbClr val="212121"/>
                </a:solidFill>
                <a:effectLst/>
              </a:rPr>
              <a:t>More than 2,500,000 commits have been made to the </a:t>
            </a:r>
            <a:r>
              <a:rPr lang="en-GB" sz="2000" b="0" i="0" u="none" strike="noStrike" dirty="0">
                <a:effectLst/>
                <a:hlinkClick r:id="rId5"/>
              </a:rPr>
              <a:t>Kubernetes GitHub repositories</a:t>
            </a:r>
            <a:r>
              <a:rPr lang="en-GB" sz="2000" b="0" i="0" dirty="0">
                <a:solidFill>
                  <a:srgbClr val="212121"/>
                </a:solidFill>
                <a:effectLst/>
              </a:rPr>
              <a:t>, demonstrating the community's extensive collaboration and commitment to continuous enhancement.</a:t>
            </a:r>
          </a:p>
          <a:p>
            <a:pPr marL="342900" indent="-342900" algn="l">
              <a:buFont typeface="Arial" panose="020B0604020202020204" pitchFamily="34" charset="0"/>
              <a:buChar char="•"/>
            </a:pPr>
            <a:r>
              <a:rPr lang="en-GB" sz="2000" b="0" i="0" dirty="0">
                <a:solidFill>
                  <a:srgbClr val="212121"/>
                </a:solidFill>
                <a:effectLst/>
              </a:rPr>
              <a:t>According to a recent survey, 78% of </a:t>
            </a:r>
            <a:r>
              <a:rPr lang="en-GB" sz="2000" b="0" i="0" u="none" strike="noStrike" dirty="0">
                <a:effectLst/>
                <a:hlinkClick r:id="rId6"/>
              </a:rPr>
              <a:t>Kubernetes clusters</a:t>
            </a:r>
            <a:r>
              <a:rPr lang="en-GB" sz="2000" b="0" i="0" dirty="0">
                <a:solidFill>
                  <a:srgbClr val="212121"/>
                </a:solidFill>
                <a:effectLst/>
              </a:rPr>
              <a:t> </a:t>
            </a:r>
            <a:r>
              <a:rPr lang="en-GB" sz="2000" b="0" i="0" dirty="0">
                <a:solidFill>
                  <a:srgbClr val="FF0000"/>
                </a:solidFill>
                <a:effectLst/>
              </a:rPr>
              <a:t>have medium to high-security concerns</a:t>
            </a:r>
            <a:r>
              <a:rPr lang="en-GB" sz="2000" b="0" i="0" dirty="0">
                <a:solidFill>
                  <a:srgbClr val="212121"/>
                </a:solidFill>
                <a:effectLst/>
              </a:rPr>
              <a:t>, highlighting the urgent need for strong security procedures.</a:t>
            </a:r>
          </a:p>
          <a:p>
            <a:pPr marL="342900" indent="-342900" algn="l">
              <a:buFont typeface="Arial" panose="020B0604020202020204" pitchFamily="34" charset="0"/>
              <a:buChar char="•"/>
            </a:pPr>
            <a:r>
              <a:rPr lang="en-GB" sz="2000" b="0" i="0" dirty="0">
                <a:solidFill>
                  <a:srgbClr val="212121"/>
                </a:solidFill>
                <a:effectLst/>
              </a:rPr>
              <a:t>AKS maintains a 28% adoption rate among businesses with 5,000 or more employees.</a:t>
            </a:r>
            <a:endParaRPr lang="en-GB" sz="2000" i="1" dirty="0">
              <a:gradFill>
                <a:gsLst>
                  <a:gs pos="2917">
                    <a:schemeClr val="tx1"/>
                  </a:gs>
                  <a:gs pos="30000">
                    <a:schemeClr val="tx1"/>
                  </a:gs>
                </a:gsLst>
                <a:lin ang="5400000" scaled="0"/>
              </a:gradFill>
            </a:endParaRPr>
          </a:p>
          <a:p>
            <a:pPr marL="342900" indent="-342900" algn="l">
              <a:buFont typeface="Arial" panose="020B0604020202020204" pitchFamily="34" charset="0"/>
              <a:buChar char="•"/>
            </a:pPr>
            <a:endParaRPr lang="en-GB" sz="20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5529239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A64FAED4-1F7B-4ED0-80E2-4E964E7C503B}"/>
              </a:ext>
            </a:extLst>
          </p:cNvPr>
          <p:cNvSpPr txBox="1"/>
          <p:nvPr/>
        </p:nvSpPr>
        <p:spPr>
          <a:xfrm>
            <a:off x="8434787" y="1035644"/>
            <a:ext cx="2720202" cy="1143884"/>
          </a:xfrm>
          <a:prstGeom prst="rect">
            <a:avLst/>
          </a:prstGeom>
          <a:noFill/>
        </p:spPr>
        <p:txBody>
          <a:bodyPr wrap="square" lIns="140609" tIns="140609" rIns="140609" bIns="140609" rtlCol="0">
            <a:spAutoFit/>
          </a:bodyPr>
          <a:lstStyle/>
          <a:p>
            <a:pPr defTabSz="896354">
              <a:spcAft>
                <a:spcPts val="576"/>
              </a:spcAft>
              <a:defRPr/>
            </a:pPr>
            <a:r>
              <a:rPr lang="en-US" sz="1961" dirty="0">
                <a:solidFill>
                  <a:srgbClr val="0078D4"/>
                </a:solidFill>
                <a:latin typeface="Segoe UI Semibold" panose="020B0702040204020203" pitchFamily="34" charset="0"/>
                <a:cs typeface="Segoe UI Semibold" panose="020B0702040204020203" pitchFamily="34" charset="0"/>
              </a:rPr>
              <a:t>Portable </a:t>
            </a:r>
          </a:p>
          <a:p>
            <a:pPr defTabSz="896354">
              <a:spcAft>
                <a:spcPts val="576"/>
              </a:spcAft>
              <a:defRPr/>
            </a:pPr>
            <a:r>
              <a:rPr lang="en-US" sz="1568" dirty="0">
                <a:solidFill>
                  <a:srgbClr val="000000"/>
                </a:solidFill>
                <a:latin typeface="Segoe UI"/>
                <a:cs typeface="Segoe UI Semibold" panose="020B0702040204020203" pitchFamily="34" charset="0"/>
              </a:rPr>
              <a:t>Public, private, hybrid, multi-cloud</a:t>
            </a:r>
          </a:p>
        </p:txBody>
      </p:sp>
      <p:sp>
        <p:nvSpPr>
          <p:cNvPr id="43" name="TextBox 42">
            <a:extLst>
              <a:ext uri="{FF2B5EF4-FFF2-40B4-BE49-F238E27FC236}">
                <a16:creationId xmlns:a16="http://schemas.microsoft.com/office/drawing/2014/main" id="{D25E3173-FBAC-4E91-B68D-16A040B21EB4}"/>
              </a:ext>
            </a:extLst>
          </p:cNvPr>
          <p:cNvSpPr txBox="1"/>
          <p:nvPr/>
        </p:nvSpPr>
        <p:spPr>
          <a:xfrm>
            <a:off x="8434787" y="2579155"/>
            <a:ext cx="2720202" cy="1143884"/>
          </a:xfrm>
          <a:prstGeom prst="rect">
            <a:avLst/>
          </a:prstGeom>
          <a:noFill/>
        </p:spPr>
        <p:txBody>
          <a:bodyPr wrap="square" lIns="140609" tIns="140609" rIns="140609" bIns="140609" rtlCol="0">
            <a:spAutoFit/>
          </a:bodyPr>
          <a:lstStyle/>
          <a:p>
            <a:pPr defTabSz="896354">
              <a:spcAft>
                <a:spcPts val="576"/>
              </a:spcAft>
              <a:defRPr/>
            </a:pPr>
            <a:r>
              <a:rPr lang="en-US" sz="1961" dirty="0">
                <a:solidFill>
                  <a:srgbClr val="0078D4"/>
                </a:solidFill>
                <a:latin typeface="Segoe UI Semibold" panose="020B0702040204020203" pitchFamily="34" charset="0"/>
                <a:cs typeface="Segoe UI Semibold" panose="020B0702040204020203" pitchFamily="34" charset="0"/>
              </a:rPr>
              <a:t>Extensible </a:t>
            </a:r>
          </a:p>
          <a:p>
            <a:pPr defTabSz="896354">
              <a:spcAft>
                <a:spcPts val="576"/>
              </a:spcAft>
              <a:defRPr/>
            </a:pPr>
            <a:r>
              <a:rPr lang="en-US" sz="1568" dirty="0">
                <a:solidFill>
                  <a:srgbClr val="000000"/>
                </a:solidFill>
                <a:latin typeface="Segoe UI"/>
                <a:cs typeface="Segoe UI Semibold" panose="020B0702040204020203" pitchFamily="34" charset="0"/>
              </a:rPr>
              <a:t>Modular, pluggable, hookable, composable</a:t>
            </a:r>
          </a:p>
        </p:txBody>
      </p:sp>
      <p:sp>
        <p:nvSpPr>
          <p:cNvPr id="44" name="TextBox 43">
            <a:extLst>
              <a:ext uri="{FF2B5EF4-FFF2-40B4-BE49-F238E27FC236}">
                <a16:creationId xmlns:a16="http://schemas.microsoft.com/office/drawing/2014/main" id="{FE5B1F6E-6FB6-42FE-BACC-97FA738B0122}"/>
              </a:ext>
            </a:extLst>
          </p:cNvPr>
          <p:cNvSpPr txBox="1"/>
          <p:nvPr/>
        </p:nvSpPr>
        <p:spPr>
          <a:xfrm>
            <a:off x="8434787" y="4122666"/>
            <a:ext cx="3327676" cy="1143884"/>
          </a:xfrm>
          <a:prstGeom prst="rect">
            <a:avLst/>
          </a:prstGeom>
          <a:noFill/>
        </p:spPr>
        <p:txBody>
          <a:bodyPr wrap="square" lIns="140609" tIns="140609" rIns="140609" bIns="140609" rtlCol="0">
            <a:spAutoFit/>
          </a:bodyPr>
          <a:lstStyle/>
          <a:p>
            <a:pPr defTabSz="896354">
              <a:spcAft>
                <a:spcPts val="576"/>
              </a:spcAft>
              <a:defRPr/>
            </a:pPr>
            <a:r>
              <a:rPr lang="en-US" sz="1961" dirty="0">
                <a:solidFill>
                  <a:srgbClr val="0078D4"/>
                </a:solidFill>
                <a:latin typeface="Segoe UI Semibold" panose="020B0702040204020203" pitchFamily="34" charset="0"/>
                <a:cs typeface="Segoe UI Semibold" panose="020B0702040204020203" pitchFamily="34" charset="0"/>
              </a:rPr>
              <a:t>Self-healing </a:t>
            </a:r>
          </a:p>
          <a:p>
            <a:pPr defTabSz="896354">
              <a:spcAft>
                <a:spcPts val="576"/>
              </a:spcAft>
              <a:defRPr/>
            </a:pPr>
            <a:r>
              <a:rPr lang="en-US" sz="1568" dirty="0">
                <a:solidFill>
                  <a:srgbClr val="000000"/>
                </a:solidFill>
                <a:latin typeface="Segoe UI"/>
                <a:cs typeface="Segoe UI Semibold" panose="020B0702040204020203" pitchFamily="34" charset="0"/>
              </a:rPr>
              <a:t>Auto-placement, auto-restart, auto-replication, auto-scaling</a:t>
            </a:r>
          </a:p>
        </p:txBody>
      </p:sp>
      <p:cxnSp>
        <p:nvCxnSpPr>
          <p:cNvPr id="45" name="Straight Connector 44">
            <a:extLst>
              <a:ext uri="{FF2B5EF4-FFF2-40B4-BE49-F238E27FC236}">
                <a16:creationId xmlns:a16="http://schemas.microsoft.com/office/drawing/2014/main" id="{335D4F74-C666-4AA1-AB09-D3C434E17381}"/>
              </a:ext>
              <a:ext uri="{C183D7F6-B498-43B3-948B-1728B52AA6E4}">
                <adec:decorative xmlns:adec="http://schemas.microsoft.com/office/drawing/2017/decorative" val="1"/>
              </a:ext>
            </a:extLst>
          </p:cNvPr>
          <p:cNvCxnSpPr>
            <a:cxnSpLocks/>
          </p:cNvCxnSpPr>
          <p:nvPr/>
        </p:nvCxnSpPr>
        <p:spPr>
          <a:xfrm>
            <a:off x="7301951" y="3151096"/>
            <a:ext cx="691182" cy="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descr="Kubernetes logo">
            <a:extLst>
              <a:ext uri="{FF2B5EF4-FFF2-40B4-BE49-F238E27FC236}">
                <a16:creationId xmlns:a16="http://schemas.microsoft.com/office/drawing/2014/main" id="{81E6CDD1-1902-46C4-873B-BC904C0876D6}"/>
              </a:ext>
            </a:extLst>
          </p:cNvPr>
          <p:cNvGrpSpPr/>
          <p:nvPr/>
        </p:nvGrpSpPr>
        <p:grpSpPr>
          <a:xfrm>
            <a:off x="5190641" y="2162443"/>
            <a:ext cx="1977308" cy="1977308"/>
            <a:chOff x="5209663" y="1859808"/>
            <a:chExt cx="2016957" cy="2016957"/>
          </a:xfrm>
        </p:grpSpPr>
        <p:sp>
          <p:nvSpPr>
            <p:cNvPr id="26" name="Oval 25">
              <a:extLst>
                <a:ext uri="{FF2B5EF4-FFF2-40B4-BE49-F238E27FC236}">
                  <a16:creationId xmlns:a16="http://schemas.microsoft.com/office/drawing/2014/main" id="{690BBFBD-922A-4B55-9451-E138544E3729}"/>
                </a:ext>
              </a:extLst>
            </p:cNvPr>
            <p:cNvSpPr/>
            <p:nvPr/>
          </p:nvSpPr>
          <p:spPr bwMode="auto">
            <a:xfrm>
              <a:off x="5209663" y="1859808"/>
              <a:ext cx="2016957" cy="2016957"/>
            </a:xfrm>
            <a:prstGeom prst="ellipse">
              <a:avLst/>
            </a:prstGeom>
            <a:noFill/>
            <a:ln w="12700">
              <a:solidFill>
                <a:srgbClr val="7575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err="1">
                <a:solidFill>
                  <a:srgbClr val="505050"/>
                </a:solidFill>
                <a:latin typeface="Segoe UI"/>
                <a:cs typeface="Segoe UI" pitchFamily="34" charset="0"/>
              </a:endParaRPr>
            </a:p>
          </p:txBody>
        </p:sp>
        <p:grpSp>
          <p:nvGrpSpPr>
            <p:cNvPr id="46" name="Graphic 13">
              <a:extLst>
                <a:ext uri="{FF2B5EF4-FFF2-40B4-BE49-F238E27FC236}">
                  <a16:creationId xmlns:a16="http://schemas.microsoft.com/office/drawing/2014/main" id="{3F5E00F9-146F-456A-95F0-19F9D8D7CBEB}"/>
                </a:ext>
              </a:extLst>
            </p:cNvPr>
            <p:cNvGrpSpPr/>
            <p:nvPr/>
          </p:nvGrpSpPr>
          <p:grpSpPr>
            <a:xfrm>
              <a:off x="5637399" y="2296514"/>
              <a:ext cx="1161484" cy="1143545"/>
              <a:chOff x="4862512" y="2214562"/>
              <a:chExt cx="2466975" cy="2428875"/>
            </a:xfrm>
          </p:grpSpPr>
          <p:sp>
            <p:nvSpPr>
              <p:cNvPr id="47" name="Freeform: Shape 46">
                <a:extLst>
                  <a:ext uri="{FF2B5EF4-FFF2-40B4-BE49-F238E27FC236}">
                    <a16:creationId xmlns:a16="http://schemas.microsoft.com/office/drawing/2014/main" id="{85E20235-AC17-4ADD-BD11-55B1F78E3F58}"/>
                  </a:ext>
                </a:extLst>
              </p:cNvPr>
              <p:cNvSpPr/>
              <p:nvPr/>
            </p:nvSpPr>
            <p:spPr>
              <a:xfrm>
                <a:off x="4854743" y="2207524"/>
                <a:ext cx="2476500" cy="2438400"/>
              </a:xfrm>
              <a:custGeom>
                <a:avLst/>
                <a:gdLst>
                  <a:gd name="connsiteX0" fmla="*/ 1165056 w 2476500"/>
                  <a:gd name="connsiteY0" fmla="*/ 27993 h 2438400"/>
                  <a:gd name="connsiteX1" fmla="*/ 347811 w 2476500"/>
                  <a:gd name="connsiteY1" fmla="*/ 408993 h 2438400"/>
                  <a:gd name="connsiteX2" fmla="*/ 224939 w 2476500"/>
                  <a:gd name="connsiteY2" fmla="*/ 558535 h 2438400"/>
                  <a:gd name="connsiteX3" fmla="*/ 13484 w 2476500"/>
                  <a:gd name="connsiteY3" fmla="*/ 1434835 h 2438400"/>
                  <a:gd name="connsiteX4" fmla="*/ 54441 w 2476500"/>
                  <a:gd name="connsiteY4" fmla="*/ 1624383 h 2438400"/>
                  <a:gd name="connsiteX5" fmla="*/ 607844 w 2476500"/>
                  <a:gd name="connsiteY5" fmla="*/ 2334948 h 2438400"/>
                  <a:gd name="connsiteX6" fmla="*/ 781199 w 2476500"/>
                  <a:gd name="connsiteY6" fmla="*/ 2420673 h 2438400"/>
                  <a:gd name="connsiteX7" fmla="*/ 1682264 w 2476500"/>
                  <a:gd name="connsiteY7" fmla="*/ 2432103 h 2438400"/>
                  <a:gd name="connsiteX8" fmla="*/ 1857524 w 2476500"/>
                  <a:gd name="connsiteY8" fmla="*/ 2350188 h 2438400"/>
                  <a:gd name="connsiteX9" fmla="*/ 2428071 w 2476500"/>
                  <a:gd name="connsiteY9" fmla="*/ 1652958 h 2438400"/>
                  <a:gd name="connsiteX10" fmla="*/ 2473791 w 2476500"/>
                  <a:gd name="connsiteY10" fmla="*/ 1465315 h 2438400"/>
                  <a:gd name="connsiteX11" fmla="*/ 2284244 w 2476500"/>
                  <a:gd name="connsiteY11" fmla="*/ 584253 h 2438400"/>
                  <a:gd name="connsiteX12" fmla="*/ 2165181 w 2476500"/>
                  <a:gd name="connsiteY12" fmla="*/ 431853 h 2438400"/>
                  <a:gd name="connsiteX13" fmla="*/ 1358414 w 2476500"/>
                  <a:gd name="connsiteY13" fmla="*/ 29898 h 2438400"/>
                  <a:gd name="connsiteX14" fmla="*/ 1165056 w 2476500"/>
                  <a:gd name="connsiteY14" fmla="*/ 2799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2438400">
                    <a:moveTo>
                      <a:pt x="1165056" y="27993"/>
                    </a:moveTo>
                    <a:lnTo>
                      <a:pt x="347811" y="408993"/>
                    </a:lnTo>
                    <a:cubicBezTo>
                      <a:pt x="285899" y="437568"/>
                      <a:pt x="241131" y="492813"/>
                      <a:pt x="224939" y="558535"/>
                    </a:cubicBezTo>
                    <a:lnTo>
                      <a:pt x="13484" y="1434835"/>
                    </a:lnTo>
                    <a:cubicBezTo>
                      <a:pt x="-2709" y="1500558"/>
                      <a:pt x="12531" y="1570090"/>
                      <a:pt x="54441" y="1624383"/>
                    </a:cubicBezTo>
                    <a:lnTo>
                      <a:pt x="607844" y="2334948"/>
                    </a:lnTo>
                    <a:cubicBezTo>
                      <a:pt x="649754" y="2388288"/>
                      <a:pt x="713571" y="2419721"/>
                      <a:pt x="781199" y="2420673"/>
                    </a:cubicBezTo>
                    <a:lnTo>
                      <a:pt x="1682264" y="2432103"/>
                    </a:lnTo>
                    <a:cubicBezTo>
                      <a:pt x="1749891" y="2433055"/>
                      <a:pt x="1814661" y="2402575"/>
                      <a:pt x="1857524" y="2350188"/>
                    </a:cubicBezTo>
                    <a:lnTo>
                      <a:pt x="2428071" y="1652958"/>
                    </a:lnTo>
                    <a:cubicBezTo>
                      <a:pt x="2470934" y="1600570"/>
                      <a:pt x="2488079" y="1531038"/>
                      <a:pt x="2473791" y="1465315"/>
                    </a:cubicBezTo>
                    <a:lnTo>
                      <a:pt x="2284244" y="584253"/>
                    </a:lnTo>
                    <a:cubicBezTo>
                      <a:pt x="2269956" y="517578"/>
                      <a:pt x="2226141" y="461380"/>
                      <a:pt x="2165181" y="431853"/>
                    </a:cubicBezTo>
                    <a:lnTo>
                      <a:pt x="1358414" y="29898"/>
                    </a:lnTo>
                    <a:cubicBezTo>
                      <a:pt x="1297454" y="370"/>
                      <a:pt x="1226016" y="-582"/>
                      <a:pt x="1165056" y="27993"/>
                    </a:cubicBezTo>
                    <a:close/>
                  </a:path>
                </a:pathLst>
              </a:custGeom>
              <a:solidFill>
                <a:srgbClr val="0078D4"/>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48" name="Freeform: Shape 47">
                <a:extLst>
                  <a:ext uri="{FF2B5EF4-FFF2-40B4-BE49-F238E27FC236}">
                    <a16:creationId xmlns:a16="http://schemas.microsoft.com/office/drawing/2014/main" id="{01AE0B3F-2860-4777-B13F-954093063390}"/>
                  </a:ext>
                </a:extLst>
              </p:cNvPr>
              <p:cNvSpPr/>
              <p:nvPr/>
            </p:nvSpPr>
            <p:spPr>
              <a:xfrm>
                <a:off x="5566886" y="2933223"/>
                <a:ext cx="1066800" cy="1047750"/>
              </a:xfrm>
              <a:custGeom>
                <a:avLst/>
                <a:gdLst>
                  <a:gd name="connsiteX0" fmla="*/ 992981 w 1066800"/>
                  <a:gd name="connsiteY0" fmla="*/ 270986 h 1047750"/>
                  <a:gd name="connsiteX1" fmla="*/ 903446 w 1066800"/>
                  <a:gd name="connsiteY1" fmla="*/ 155734 h 1047750"/>
                  <a:gd name="connsiteX2" fmla="*/ 692944 w 1066800"/>
                  <a:gd name="connsiteY2" fmla="*/ 298609 h 1047750"/>
                  <a:gd name="connsiteX3" fmla="*/ 630079 w 1066800"/>
                  <a:gd name="connsiteY3" fmla="*/ 268129 h 1047750"/>
                  <a:gd name="connsiteX4" fmla="*/ 613886 w 1066800"/>
                  <a:gd name="connsiteY4" fmla="*/ 12859 h 1047750"/>
                  <a:gd name="connsiteX5" fmla="*/ 534829 w 1066800"/>
                  <a:gd name="connsiteY5" fmla="*/ 7144 h 1047750"/>
                  <a:gd name="connsiteX6" fmla="*/ 465296 w 1066800"/>
                  <a:gd name="connsiteY6" fmla="*/ 11906 h 1047750"/>
                  <a:gd name="connsiteX7" fmla="*/ 447199 w 1066800"/>
                  <a:gd name="connsiteY7" fmla="*/ 268129 h 1047750"/>
                  <a:gd name="connsiteX8" fmla="*/ 384334 w 1066800"/>
                  <a:gd name="connsiteY8" fmla="*/ 298609 h 1047750"/>
                  <a:gd name="connsiteX9" fmla="*/ 170974 w 1066800"/>
                  <a:gd name="connsiteY9" fmla="*/ 150971 h 1047750"/>
                  <a:gd name="connsiteX10" fmla="*/ 81439 w 1066800"/>
                  <a:gd name="connsiteY10" fmla="*/ 262414 h 1047750"/>
                  <a:gd name="connsiteX11" fmla="*/ 265271 w 1066800"/>
                  <a:gd name="connsiteY11" fmla="*/ 447199 h 1047750"/>
                  <a:gd name="connsiteX12" fmla="*/ 247174 w 1066800"/>
                  <a:gd name="connsiteY12" fmla="*/ 514826 h 1047750"/>
                  <a:gd name="connsiteX13" fmla="*/ 7144 w 1066800"/>
                  <a:gd name="connsiteY13" fmla="*/ 576739 h 1047750"/>
                  <a:gd name="connsiteX14" fmla="*/ 44291 w 1066800"/>
                  <a:gd name="connsiteY14" fmla="*/ 734854 h 1047750"/>
                  <a:gd name="connsiteX15" fmla="*/ 296704 w 1066800"/>
                  <a:gd name="connsiteY15" fmla="*/ 693896 h 1047750"/>
                  <a:gd name="connsiteX16" fmla="*/ 340519 w 1066800"/>
                  <a:gd name="connsiteY16" fmla="*/ 748189 h 1047750"/>
                  <a:gd name="connsiteX17" fmla="*/ 250031 w 1066800"/>
                  <a:gd name="connsiteY17" fmla="*/ 981551 h 1047750"/>
                  <a:gd name="connsiteX18" fmla="*/ 390049 w 1066800"/>
                  <a:gd name="connsiteY18" fmla="*/ 1044416 h 1047750"/>
                  <a:gd name="connsiteX19" fmla="*/ 500539 w 1066800"/>
                  <a:gd name="connsiteY19" fmla="*/ 831056 h 1047750"/>
                  <a:gd name="connsiteX20" fmla="*/ 571024 w 1066800"/>
                  <a:gd name="connsiteY20" fmla="*/ 828199 h 1047750"/>
                  <a:gd name="connsiteX21" fmla="*/ 701516 w 1066800"/>
                  <a:gd name="connsiteY21" fmla="*/ 1036796 h 1047750"/>
                  <a:gd name="connsiteX22" fmla="*/ 832961 w 1066800"/>
                  <a:gd name="connsiteY22" fmla="*/ 972026 h 1047750"/>
                  <a:gd name="connsiteX23" fmla="*/ 738664 w 1066800"/>
                  <a:gd name="connsiteY23" fmla="*/ 748189 h 1047750"/>
                  <a:gd name="connsiteX24" fmla="*/ 781526 w 1066800"/>
                  <a:gd name="connsiteY24" fmla="*/ 692944 h 1047750"/>
                  <a:gd name="connsiteX25" fmla="*/ 1028224 w 1066800"/>
                  <a:gd name="connsiteY25" fmla="*/ 726281 h 1047750"/>
                  <a:gd name="connsiteX26" fmla="*/ 1061561 w 1066800"/>
                  <a:gd name="connsiteY26" fmla="*/ 576739 h 1047750"/>
                  <a:gd name="connsiteX27" fmla="*/ 831056 w 1066800"/>
                  <a:gd name="connsiteY27" fmla="*/ 511969 h 1047750"/>
                  <a:gd name="connsiteX28" fmla="*/ 813911 w 1066800"/>
                  <a:gd name="connsiteY28" fmla="*/ 444341 h 1047750"/>
                  <a:gd name="connsiteX29" fmla="*/ 992981 w 1066800"/>
                  <a:gd name="connsiteY29" fmla="*/ 270986 h 1047750"/>
                  <a:gd name="connsiteX30" fmla="*/ 605314 w 1066800"/>
                  <a:gd name="connsiteY30" fmla="*/ 586264 h 1047750"/>
                  <a:gd name="connsiteX31" fmla="*/ 535781 w 1066800"/>
                  <a:gd name="connsiteY31" fmla="*/ 619601 h 1047750"/>
                  <a:gd name="connsiteX32" fmla="*/ 467201 w 1066800"/>
                  <a:gd name="connsiteY32" fmla="*/ 586264 h 1047750"/>
                  <a:gd name="connsiteX33" fmla="*/ 450056 w 1066800"/>
                  <a:gd name="connsiteY33" fmla="*/ 511016 h 1047750"/>
                  <a:gd name="connsiteX34" fmla="*/ 497681 w 1066800"/>
                  <a:gd name="connsiteY34" fmla="*/ 451009 h 1047750"/>
                  <a:gd name="connsiteX35" fmla="*/ 574834 w 1066800"/>
                  <a:gd name="connsiteY35" fmla="*/ 451009 h 1047750"/>
                  <a:gd name="connsiteX36" fmla="*/ 622459 w 1066800"/>
                  <a:gd name="connsiteY36" fmla="*/ 511016 h 1047750"/>
                  <a:gd name="connsiteX37" fmla="*/ 605314 w 1066800"/>
                  <a:gd name="connsiteY37" fmla="*/ 586264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6800" h="1047750">
                    <a:moveTo>
                      <a:pt x="992981" y="270986"/>
                    </a:moveTo>
                    <a:cubicBezTo>
                      <a:pt x="968216" y="228124"/>
                      <a:pt x="938689" y="190024"/>
                      <a:pt x="903446" y="155734"/>
                    </a:cubicBezTo>
                    <a:lnTo>
                      <a:pt x="692944" y="298609"/>
                    </a:lnTo>
                    <a:cubicBezTo>
                      <a:pt x="667226" y="315754"/>
                      <a:pt x="631984" y="298609"/>
                      <a:pt x="630079" y="268129"/>
                    </a:cubicBezTo>
                    <a:lnTo>
                      <a:pt x="613886" y="12859"/>
                    </a:lnTo>
                    <a:cubicBezTo>
                      <a:pt x="588169" y="9049"/>
                      <a:pt x="561499" y="7144"/>
                      <a:pt x="534829" y="7144"/>
                    </a:cubicBezTo>
                    <a:cubicBezTo>
                      <a:pt x="511016" y="7144"/>
                      <a:pt x="488156" y="9049"/>
                      <a:pt x="465296" y="11906"/>
                    </a:cubicBezTo>
                    <a:lnTo>
                      <a:pt x="447199" y="268129"/>
                    </a:lnTo>
                    <a:cubicBezTo>
                      <a:pt x="445294" y="299561"/>
                      <a:pt x="410051" y="315754"/>
                      <a:pt x="384334" y="298609"/>
                    </a:cubicBezTo>
                    <a:lnTo>
                      <a:pt x="170974" y="150971"/>
                    </a:lnTo>
                    <a:cubicBezTo>
                      <a:pt x="136684" y="183356"/>
                      <a:pt x="106204" y="220504"/>
                      <a:pt x="81439" y="262414"/>
                    </a:cubicBezTo>
                    <a:lnTo>
                      <a:pt x="265271" y="447199"/>
                    </a:lnTo>
                    <a:cubicBezTo>
                      <a:pt x="287179" y="469106"/>
                      <a:pt x="276701" y="507206"/>
                      <a:pt x="247174" y="514826"/>
                    </a:cubicBezTo>
                    <a:lnTo>
                      <a:pt x="7144" y="576739"/>
                    </a:lnTo>
                    <a:cubicBezTo>
                      <a:pt x="10954" y="631984"/>
                      <a:pt x="24289" y="685324"/>
                      <a:pt x="44291" y="734854"/>
                    </a:cubicBezTo>
                    <a:lnTo>
                      <a:pt x="296704" y="693896"/>
                    </a:lnTo>
                    <a:cubicBezTo>
                      <a:pt x="327184" y="689134"/>
                      <a:pt x="351949" y="719614"/>
                      <a:pt x="340519" y="748189"/>
                    </a:cubicBezTo>
                    <a:lnTo>
                      <a:pt x="250031" y="981551"/>
                    </a:lnTo>
                    <a:cubicBezTo>
                      <a:pt x="292894" y="1009174"/>
                      <a:pt x="339566" y="1030129"/>
                      <a:pt x="390049" y="1044416"/>
                    </a:cubicBezTo>
                    <a:lnTo>
                      <a:pt x="500539" y="831056"/>
                    </a:lnTo>
                    <a:cubicBezTo>
                      <a:pt x="514826" y="803434"/>
                      <a:pt x="553879" y="801529"/>
                      <a:pt x="571024" y="828199"/>
                    </a:cubicBezTo>
                    <a:lnTo>
                      <a:pt x="701516" y="1036796"/>
                    </a:lnTo>
                    <a:cubicBezTo>
                      <a:pt x="748189" y="1021556"/>
                      <a:pt x="792956" y="998696"/>
                      <a:pt x="832961" y="972026"/>
                    </a:cubicBezTo>
                    <a:lnTo>
                      <a:pt x="738664" y="748189"/>
                    </a:lnTo>
                    <a:cubicBezTo>
                      <a:pt x="726281" y="719614"/>
                      <a:pt x="750094" y="688181"/>
                      <a:pt x="781526" y="692944"/>
                    </a:cubicBezTo>
                    <a:lnTo>
                      <a:pt x="1028224" y="726281"/>
                    </a:lnTo>
                    <a:cubicBezTo>
                      <a:pt x="1046321" y="679609"/>
                      <a:pt x="1057751" y="629126"/>
                      <a:pt x="1061561" y="576739"/>
                    </a:cubicBezTo>
                    <a:lnTo>
                      <a:pt x="831056" y="511969"/>
                    </a:lnTo>
                    <a:cubicBezTo>
                      <a:pt x="800576" y="503396"/>
                      <a:pt x="791051" y="465296"/>
                      <a:pt x="813911" y="444341"/>
                    </a:cubicBezTo>
                    <a:lnTo>
                      <a:pt x="992981" y="270986"/>
                    </a:lnTo>
                    <a:close/>
                    <a:moveTo>
                      <a:pt x="605314" y="586264"/>
                    </a:moveTo>
                    <a:lnTo>
                      <a:pt x="535781" y="619601"/>
                    </a:lnTo>
                    <a:lnTo>
                      <a:pt x="467201" y="586264"/>
                    </a:lnTo>
                    <a:lnTo>
                      <a:pt x="450056" y="511016"/>
                    </a:lnTo>
                    <a:lnTo>
                      <a:pt x="497681" y="451009"/>
                    </a:lnTo>
                    <a:lnTo>
                      <a:pt x="574834" y="451009"/>
                    </a:lnTo>
                    <a:lnTo>
                      <a:pt x="622459" y="511016"/>
                    </a:lnTo>
                    <a:lnTo>
                      <a:pt x="605314" y="586264"/>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49" name="Freeform: Shape 48">
                <a:extLst>
                  <a:ext uri="{FF2B5EF4-FFF2-40B4-BE49-F238E27FC236}">
                    <a16:creationId xmlns:a16="http://schemas.microsoft.com/office/drawing/2014/main" id="{E4F1410E-B7EC-4E9D-86C3-886697C6D9EC}"/>
                  </a:ext>
                </a:extLst>
              </p:cNvPr>
              <p:cNvSpPr/>
              <p:nvPr/>
            </p:nvSpPr>
            <p:spPr>
              <a:xfrm>
                <a:off x="5456396" y="3655218"/>
                <a:ext cx="9525" cy="9525"/>
              </a:xfrm>
              <a:custGeom>
                <a:avLst/>
                <a:gdLst>
                  <a:gd name="connsiteX0" fmla="*/ 10001 w 9525"/>
                  <a:gd name="connsiteY0" fmla="*/ 7144 h 9525"/>
                  <a:gd name="connsiteX1" fmla="*/ 7144 w 9525"/>
                  <a:gd name="connsiteY1" fmla="*/ 8096 h 9525"/>
                  <a:gd name="connsiteX2" fmla="*/ 7144 w 9525"/>
                  <a:gd name="connsiteY2" fmla="*/ 9049 h 9525"/>
                </a:gdLst>
                <a:ahLst/>
                <a:cxnLst>
                  <a:cxn ang="0">
                    <a:pos x="connsiteX0" y="connsiteY0"/>
                  </a:cxn>
                  <a:cxn ang="0">
                    <a:pos x="connsiteX1" y="connsiteY1"/>
                  </a:cxn>
                  <a:cxn ang="0">
                    <a:pos x="connsiteX2" y="connsiteY2"/>
                  </a:cxn>
                </a:cxnLst>
                <a:rect l="l" t="t" r="r" b="b"/>
                <a:pathLst>
                  <a:path w="9525" h="9525">
                    <a:moveTo>
                      <a:pt x="10001" y="7144"/>
                    </a:moveTo>
                    <a:lnTo>
                      <a:pt x="7144" y="8096"/>
                    </a:lnTo>
                    <a:lnTo>
                      <a:pt x="7144" y="9049"/>
                    </a:ln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sp>
            <p:nvSpPr>
              <p:cNvPr id="50" name="Freeform: Shape 49">
                <a:extLst>
                  <a:ext uri="{FF2B5EF4-FFF2-40B4-BE49-F238E27FC236}">
                    <a16:creationId xmlns:a16="http://schemas.microsoft.com/office/drawing/2014/main" id="{B4E2E2D5-4699-421F-92D1-947F7EBB92C9}"/>
                  </a:ext>
                </a:extLst>
              </p:cNvPr>
              <p:cNvSpPr/>
              <p:nvPr/>
            </p:nvSpPr>
            <p:spPr>
              <a:xfrm>
                <a:off x="5186165" y="2525553"/>
                <a:ext cx="1828800" cy="1790700"/>
              </a:xfrm>
              <a:custGeom>
                <a:avLst/>
                <a:gdLst>
                  <a:gd name="connsiteX0" fmla="*/ 1780420 w 1828800"/>
                  <a:gd name="connsiteY0" fmla="*/ 1078706 h 1790700"/>
                  <a:gd name="connsiteX1" fmla="*/ 1618495 w 1828800"/>
                  <a:gd name="connsiteY1" fmla="*/ 1055846 h 1790700"/>
                  <a:gd name="connsiteX2" fmla="*/ 1604207 w 1828800"/>
                  <a:gd name="connsiteY2" fmla="*/ 1036796 h 1790700"/>
                  <a:gd name="connsiteX3" fmla="*/ 1580395 w 1828800"/>
                  <a:gd name="connsiteY3" fmla="*/ 1031081 h 1790700"/>
                  <a:gd name="connsiteX4" fmla="*/ 1586110 w 1828800"/>
                  <a:gd name="connsiteY4" fmla="*/ 941546 h 1790700"/>
                  <a:gd name="connsiteX5" fmla="*/ 1466095 w 1828800"/>
                  <a:gd name="connsiteY5" fmla="*/ 561499 h 1790700"/>
                  <a:gd name="connsiteX6" fmla="*/ 1485145 w 1828800"/>
                  <a:gd name="connsiteY6" fmla="*/ 546259 h 1790700"/>
                  <a:gd name="connsiteX7" fmla="*/ 1489907 w 1828800"/>
                  <a:gd name="connsiteY7" fmla="*/ 523399 h 1790700"/>
                  <a:gd name="connsiteX8" fmla="*/ 1626115 w 1828800"/>
                  <a:gd name="connsiteY8" fmla="*/ 432911 h 1790700"/>
                  <a:gd name="connsiteX9" fmla="*/ 1643260 w 1828800"/>
                  <a:gd name="connsiteY9" fmla="*/ 357664 h 1790700"/>
                  <a:gd name="connsiteX10" fmla="*/ 1566107 w 1828800"/>
                  <a:gd name="connsiteY10" fmla="*/ 354806 h 1790700"/>
                  <a:gd name="connsiteX11" fmla="*/ 1444187 w 1828800"/>
                  <a:gd name="connsiteY11" fmla="*/ 460534 h 1790700"/>
                  <a:gd name="connsiteX12" fmla="*/ 1420375 w 1828800"/>
                  <a:gd name="connsiteY12" fmla="*/ 458629 h 1790700"/>
                  <a:gd name="connsiteX13" fmla="*/ 1399420 w 1828800"/>
                  <a:gd name="connsiteY13" fmla="*/ 472916 h 1790700"/>
                  <a:gd name="connsiteX14" fmla="*/ 1398467 w 1828800"/>
                  <a:gd name="connsiteY14" fmla="*/ 475774 h 1790700"/>
                  <a:gd name="connsiteX15" fmla="*/ 970794 w 1828800"/>
                  <a:gd name="connsiteY15" fmla="*/ 276701 h 1790700"/>
                  <a:gd name="connsiteX16" fmla="*/ 973652 w 1828800"/>
                  <a:gd name="connsiteY16" fmla="*/ 273844 h 1790700"/>
                  <a:gd name="connsiteX17" fmla="*/ 972700 w 1828800"/>
                  <a:gd name="connsiteY17" fmla="*/ 248126 h 1790700"/>
                  <a:gd name="connsiteX18" fmla="*/ 957460 w 1828800"/>
                  <a:gd name="connsiteY18" fmla="*/ 230029 h 1790700"/>
                  <a:gd name="connsiteX19" fmla="*/ 967937 w 1828800"/>
                  <a:gd name="connsiteY19" fmla="*/ 67151 h 1790700"/>
                  <a:gd name="connsiteX20" fmla="*/ 918407 w 1828800"/>
                  <a:gd name="connsiteY20" fmla="*/ 7144 h 1790700"/>
                  <a:gd name="connsiteX21" fmla="*/ 868877 w 1828800"/>
                  <a:gd name="connsiteY21" fmla="*/ 67151 h 1790700"/>
                  <a:gd name="connsiteX22" fmla="*/ 879355 w 1828800"/>
                  <a:gd name="connsiteY22" fmla="*/ 230029 h 1790700"/>
                  <a:gd name="connsiteX23" fmla="*/ 864115 w 1828800"/>
                  <a:gd name="connsiteY23" fmla="*/ 248126 h 1790700"/>
                  <a:gd name="connsiteX24" fmla="*/ 863162 w 1828800"/>
                  <a:gd name="connsiteY24" fmla="*/ 273844 h 1790700"/>
                  <a:gd name="connsiteX25" fmla="*/ 865067 w 1828800"/>
                  <a:gd name="connsiteY25" fmla="*/ 276701 h 1790700"/>
                  <a:gd name="connsiteX26" fmla="*/ 433585 w 1828800"/>
                  <a:gd name="connsiteY26" fmla="*/ 488156 h 1790700"/>
                  <a:gd name="connsiteX27" fmla="*/ 436442 w 1828800"/>
                  <a:gd name="connsiteY27" fmla="*/ 477679 h 1790700"/>
                  <a:gd name="connsiteX28" fmla="*/ 415487 w 1828800"/>
                  <a:gd name="connsiteY28" fmla="*/ 462439 h 1790700"/>
                  <a:gd name="connsiteX29" fmla="*/ 390722 w 1828800"/>
                  <a:gd name="connsiteY29" fmla="*/ 464344 h 1790700"/>
                  <a:gd name="connsiteX30" fmla="*/ 271660 w 1828800"/>
                  <a:gd name="connsiteY30" fmla="*/ 352901 h 1790700"/>
                  <a:gd name="connsiteX31" fmla="*/ 194507 w 1828800"/>
                  <a:gd name="connsiteY31" fmla="*/ 353854 h 1790700"/>
                  <a:gd name="connsiteX32" fmla="*/ 209747 w 1828800"/>
                  <a:gd name="connsiteY32" fmla="*/ 430054 h 1790700"/>
                  <a:gd name="connsiteX33" fmla="*/ 343097 w 1828800"/>
                  <a:gd name="connsiteY33" fmla="*/ 525304 h 1790700"/>
                  <a:gd name="connsiteX34" fmla="*/ 346907 w 1828800"/>
                  <a:gd name="connsiteY34" fmla="*/ 548164 h 1790700"/>
                  <a:gd name="connsiteX35" fmla="*/ 365957 w 1828800"/>
                  <a:gd name="connsiteY35" fmla="*/ 565309 h 1790700"/>
                  <a:gd name="connsiteX36" fmla="*/ 372625 w 1828800"/>
                  <a:gd name="connsiteY36" fmla="*/ 567214 h 1790700"/>
                  <a:gd name="connsiteX37" fmla="*/ 256420 w 1828800"/>
                  <a:gd name="connsiteY37" fmla="*/ 942499 h 1790700"/>
                  <a:gd name="connsiteX38" fmla="*/ 263087 w 1828800"/>
                  <a:gd name="connsiteY38" fmla="*/ 1036796 h 1790700"/>
                  <a:gd name="connsiteX39" fmla="*/ 257372 w 1828800"/>
                  <a:gd name="connsiteY39" fmla="*/ 1030129 h 1790700"/>
                  <a:gd name="connsiteX40" fmla="*/ 232607 w 1828800"/>
                  <a:gd name="connsiteY40" fmla="*/ 1036796 h 1790700"/>
                  <a:gd name="connsiteX41" fmla="*/ 218320 w 1828800"/>
                  <a:gd name="connsiteY41" fmla="*/ 1055846 h 1790700"/>
                  <a:gd name="connsiteX42" fmla="*/ 56395 w 1828800"/>
                  <a:gd name="connsiteY42" fmla="*/ 1078706 h 1790700"/>
                  <a:gd name="connsiteX43" fmla="*/ 7817 w 1828800"/>
                  <a:gd name="connsiteY43" fmla="*/ 1139666 h 1790700"/>
                  <a:gd name="connsiteX44" fmla="*/ 76397 w 1828800"/>
                  <a:gd name="connsiteY44" fmla="*/ 1175861 h 1790700"/>
                  <a:gd name="connsiteX45" fmla="*/ 233560 w 1828800"/>
                  <a:gd name="connsiteY45" fmla="*/ 1132046 h 1790700"/>
                  <a:gd name="connsiteX46" fmla="*/ 254515 w 1828800"/>
                  <a:gd name="connsiteY46" fmla="*/ 1143476 h 1790700"/>
                  <a:gd name="connsiteX47" fmla="*/ 277375 w 1828800"/>
                  <a:gd name="connsiteY47" fmla="*/ 1139666 h 1790700"/>
                  <a:gd name="connsiteX48" fmla="*/ 282137 w 1828800"/>
                  <a:gd name="connsiteY48" fmla="*/ 1130141 h 1790700"/>
                  <a:gd name="connsiteX49" fmla="*/ 579317 w 1828800"/>
                  <a:gd name="connsiteY49" fmla="*/ 1514951 h 1790700"/>
                  <a:gd name="connsiteX50" fmla="*/ 570745 w 1828800"/>
                  <a:gd name="connsiteY50" fmla="*/ 1535906 h 1790700"/>
                  <a:gd name="connsiteX51" fmla="*/ 577412 w 1828800"/>
                  <a:gd name="connsiteY51" fmla="*/ 1558766 h 1790700"/>
                  <a:gd name="connsiteX52" fmla="*/ 497402 w 1828800"/>
                  <a:gd name="connsiteY52" fmla="*/ 1701641 h 1790700"/>
                  <a:gd name="connsiteX53" fmla="*/ 516452 w 1828800"/>
                  <a:gd name="connsiteY53" fmla="*/ 1776889 h 1790700"/>
                  <a:gd name="connsiteX54" fmla="*/ 586937 w 1828800"/>
                  <a:gd name="connsiteY54" fmla="*/ 1744504 h 1790700"/>
                  <a:gd name="connsiteX55" fmla="*/ 646945 w 1828800"/>
                  <a:gd name="connsiteY55" fmla="*/ 1593056 h 1790700"/>
                  <a:gd name="connsiteX56" fmla="*/ 668852 w 1828800"/>
                  <a:gd name="connsiteY56" fmla="*/ 1583531 h 1790700"/>
                  <a:gd name="connsiteX57" fmla="*/ 679330 w 1828800"/>
                  <a:gd name="connsiteY57" fmla="*/ 1564481 h 1790700"/>
                  <a:gd name="connsiteX58" fmla="*/ 921265 w 1828800"/>
                  <a:gd name="connsiteY58" fmla="*/ 1610201 h 1790700"/>
                  <a:gd name="connsiteX59" fmla="*/ 1166057 w 1828800"/>
                  <a:gd name="connsiteY59" fmla="*/ 1563529 h 1790700"/>
                  <a:gd name="connsiteX60" fmla="*/ 1165105 w 1828800"/>
                  <a:gd name="connsiteY60" fmla="*/ 1566386 h 1790700"/>
                  <a:gd name="connsiteX61" fmla="*/ 1167010 w 1828800"/>
                  <a:gd name="connsiteY61" fmla="*/ 1566386 h 1790700"/>
                  <a:gd name="connsiteX62" fmla="*/ 1179392 w 1828800"/>
                  <a:gd name="connsiteY62" fmla="*/ 1589246 h 1790700"/>
                  <a:gd name="connsiteX63" fmla="*/ 1201300 w 1828800"/>
                  <a:gd name="connsiteY63" fmla="*/ 1598771 h 1790700"/>
                  <a:gd name="connsiteX64" fmla="*/ 1261307 w 1828800"/>
                  <a:gd name="connsiteY64" fmla="*/ 1750219 h 1790700"/>
                  <a:gd name="connsiteX65" fmla="*/ 1331792 w 1828800"/>
                  <a:gd name="connsiteY65" fmla="*/ 1782604 h 1790700"/>
                  <a:gd name="connsiteX66" fmla="*/ 1350842 w 1828800"/>
                  <a:gd name="connsiteY66" fmla="*/ 1707356 h 1790700"/>
                  <a:gd name="connsiteX67" fmla="*/ 1270832 w 1828800"/>
                  <a:gd name="connsiteY67" fmla="*/ 1564481 h 1790700"/>
                  <a:gd name="connsiteX68" fmla="*/ 1277500 w 1828800"/>
                  <a:gd name="connsiteY68" fmla="*/ 1541621 h 1790700"/>
                  <a:gd name="connsiteX69" fmla="*/ 1267975 w 1828800"/>
                  <a:gd name="connsiteY69" fmla="*/ 1517809 h 1790700"/>
                  <a:gd name="connsiteX70" fmla="*/ 1259402 w 1828800"/>
                  <a:gd name="connsiteY70" fmla="*/ 1517809 h 1790700"/>
                  <a:gd name="connsiteX71" fmla="*/ 1557535 w 1828800"/>
                  <a:gd name="connsiteY71" fmla="*/ 1141571 h 1790700"/>
                  <a:gd name="connsiteX72" fmla="*/ 1582300 w 1828800"/>
                  <a:gd name="connsiteY72" fmla="*/ 1145381 h 1790700"/>
                  <a:gd name="connsiteX73" fmla="*/ 1603255 w 1828800"/>
                  <a:gd name="connsiteY73" fmla="*/ 1133951 h 1790700"/>
                  <a:gd name="connsiteX74" fmla="*/ 1760417 w 1828800"/>
                  <a:gd name="connsiteY74" fmla="*/ 1177766 h 1790700"/>
                  <a:gd name="connsiteX75" fmla="*/ 1828997 w 1828800"/>
                  <a:gd name="connsiteY75" fmla="*/ 1141571 h 1790700"/>
                  <a:gd name="connsiteX76" fmla="*/ 1780420 w 1828800"/>
                  <a:gd name="connsiteY76" fmla="*/ 1078706 h 1790700"/>
                  <a:gd name="connsiteX77" fmla="*/ 914597 w 1828800"/>
                  <a:gd name="connsiteY77" fmla="*/ 1473994 h 1790700"/>
                  <a:gd name="connsiteX78" fmla="*/ 383102 w 1828800"/>
                  <a:gd name="connsiteY78" fmla="*/ 942499 h 1790700"/>
                  <a:gd name="connsiteX79" fmla="*/ 914597 w 1828800"/>
                  <a:gd name="connsiteY79" fmla="*/ 411004 h 1790700"/>
                  <a:gd name="connsiteX80" fmla="*/ 1446092 w 1828800"/>
                  <a:gd name="connsiteY80" fmla="*/ 942499 h 1790700"/>
                  <a:gd name="connsiteX81" fmla="*/ 914597 w 1828800"/>
                  <a:gd name="connsiteY81" fmla="*/ 1473994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8800" h="1790700">
                    <a:moveTo>
                      <a:pt x="1780420" y="1078706"/>
                    </a:moveTo>
                    <a:lnTo>
                      <a:pt x="1618495" y="1055846"/>
                    </a:lnTo>
                    <a:lnTo>
                      <a:pt x="1604207" y="1036796"/>
                    </a:lnTo>
                    <a:lnTo>
                      <a:pt x="1580395" y="1031081"/>
                    </a:lnTo>
                    <a:cubicBezTo>
                      <a:pt x="1584205" y="1001554"/>
                      <a:pt x="1586110" y="972026"/>
                      <a:pt x="1586110" y="941546"/>
                    </a:cubicBezTo>
                    <a:cubicBezTo>
                      <a:pt x="1586110" y="799624"/>
                      <a:pt x="1542295" y="669131"/>
                      <a:pt x="1466095" y="561499"/>
                    </a:cubicBezTo>
                    <a:lnTo>
                      <a:pt x="1485145" y="546259"/>
                    </a:lnTo>
                    <a:lnTo>
                      <a:pt x="1489907" y="523399"/>
                    </a:lnTo>
                    <a:lnTo>
                      <a:pt x="1626115" y="432911"/>
                    </a:lnTo>
                    <a:cubicBezTo>
                      <a:pt x="1651832" y="412909"/>
                      <a:pt x="1660405" y="379571"/>
                      <a:pt x="1643260" y="357664"/>
                    </a:cubicBezTo>
                    <a:cubicBezTo>
                      <a:pt x="1627067" y="335756"/>
                      <a:pt x="1591825" y="334804"/>
                      <a:pt x="1566107" y="354806"/>
                    </a:cubicBezTo>
                    <a:lnTo>
                      <a:pt x="1444187" y="460534"/>
                    </a:lnTo>
                    <a:lnTo>
                      <a:pt x="1420375" y="458629"/>
                    </a:lnTo>
                    <a:lnTo>
                      <a:pt x="1399420" y="472916"/>
                    </a:lnTo>
                    <a:lnTo>
                      <a:pt x="1398467" y="475774"/>
                    </a:lnTo>
                    <a:cubicBezTo>
                      <a:pt x="1287977" y="362426"/>
                      <a:pt x="1138435" y="289084"/>
                      <a:pt x="970794" y="276701"/>
                    </a:cubicBezTo>
                    <a:lnTo>
                      <a:pt x="973652" y="273844"/>
                    </a:lnTo>
                    <a:lnTo>
                      <a:pt x="972700" y="248126"/>
                    </a:lnTo>
                    <a:lnTo>
                      <a:pt x="957460" y="230029"/>
                    </a:lnTo>
                    <a:lnTo>
                      <a:pt x="967937" y="67151"/>
                    </a:lnTo>
                    <a:cubicBezTo>
                      <a:pt x="967937" y="33814"/>
                      <a:pt x="946030" y="7144"/>
                      <a:pt x="918407" y="7144"/>
                    </a:cubicBezTo>
                    <a:cubicBezTo>
                      <a:pt x="890785" y="7144"/>
                      <a:pt x="868877" y="33814"/>
                      <a:pt x="868877" y="67151"/>
                    </a:cubicBezTo>
                    <a:lnTo>
                      <a:pt x="879355" y="230029"/>
                    </a:lnTo>
                    <a:lnTo>
                      <a:pt x="864115" y="248126"/>
                    </a:lnTo>
                    <a:lnTo>
                      <a:pt x="863162" y="273844"/>
                    </a:lnTo>
                    <a:lnTo>
                      <a:pt x="865067" y="276701"/>
                    </a:lnTo>
                    <a:cubicBezTo>
                      <a:pt x="694570" y="290989"/>
                      <a:pt x="543122" y="369094"/>
                      <a:pt x="433585" y="488156"/>
                    </a:cubicBezTo>
                    <a:lnTo>
                      <a:pt x="436442" y="477679"/>
                    </a:lnTo>
                    <a:lnTo>
                      <a:pt x="415487" y="462439"/>
                    </a:lnTo>
                    <a:lnTo>
                      <a:pt x="390722" y="464344"/>
                    </a:lnTo>
                    <a:lnTo>
                      <a:pt x="271660" y="352901"/>
                    </a:lnTo>
                    <a:cubicBezTo>
                      <a:pt x="245942" y="331946"/>
                      <a:pt x="211652" y="331946"/>
                      <a:pt x="194507" y="353854"/>
                    </a:cubicBezTo>
                    <a:cubicBezTo>
                      <a:pt x="177362" y="374809"/>
                      <a:pt x="184030" y="409099"/>
                      <a:pt x="209747" y="430054"/>
                    </a:cubicBezTo>
                    <a:lnTo>
                      <a:pt x="343097" y="525304"/>
                    </a:lnTo>
                    <a:lnTo>
                      <a:pt x="346907" y="548164"/>
                    </a:lnTo>
                    <a:lnTo>
                      <a:pt x="365957" y="565309"/>
                    </a:lnTo>
                    <a:lnTo>
                      <a:pt x="372625" y="567214"/>
                    </a:lnTo>
                    <a:cubicBezTo>
                      <a:pt x="299282" y="673894"/>
                      <a:pt x="256420" y="803434"/>
                      <a:pt x="256420" y="942499"/>
                    </a:cubicBezTo>
                    <a:cubicBezTo>
                      <a:pt x="256420" y="974884"/>
                      <a:pt x="259277" y="1006316"/>
                      <a:pt x="263087" y="1036796"/>
                    </a:cubicBezTo>
                    <a:lnTo>
                      <a:pt x="257372" y="1030129"/>
                    </a:lnTo>
                    <a:lnTo>
                      <a:pt x="232607" y="1036796"/>
                    </a:lnTo>
                    <a:lnTo>
                      <a:pt x="218320" y="1055846"/>
                    </a:lnTo>
                    <a:lnTo>
                      <a:pt x="56395" y="1078706"/>
                    </a:lnTo>
                    <a:cubicBezTo>
                      <a:pt x="24010" y="1085374"/>
                      <a:pt x="3055" y="1112996"/>
                      <a:pt x="7817" y="1139666"/>
                    </a:cubicBezTo>
                    <a:cubicBezTo>
                      <a:pt x="13532" y="1166336"/>
                      <a:pt x="44012" y="1182529"/>
                      <a:pt x="76397" y="1175861"/>
                    </a:cubicBezTo>
                    <a:lnTo>
                      <a:pt x="233560" y="1132046"/>
                    </a:lnTo>
                    <a:lnTo>
                      <a:pt x="254515" y="1143476"/>
                    </a:lnTo>
                    <a:lnTo>
                      <a:pt x="277375" y="1139666"/>
                    </a:lnTo>
                    <a:lnTo>
                      <a:pt x="282137" y="1130141"/>
                    </a:lnTo>
                    <a:cubicBezTo>
                      <a:pt x="329762" y="1293019"/>
                      <a:pt x="437395" y="1429226"/>
                      <a:pt x="579317" y="1514951"/>
                    </a:cubicBezTo>
                    <a:lnTo>
                      <a:pt x="570745" y="1535906"/>
                    </a:lnTo>
                    <a:lnTo>
                      <a:pt x="577412" y="1558766"/>
                    </a:lnTo>
                    <a:lnTo>
                      <a:pt x="497402" y="1701641"/>
                    </a:lnTo>
                    <a:cubicBezTo>
                      <a:pt x="483115" y="1731169"/>
                      <a:pt x="491687" y="1765459"/>
                      <a:pt x="516452" y="1776889"/>
                    </a:cubicBezTo>
                    <a:cubicBezTo>
                      <a:pt x="541217" y="1788319"/>
                      <a:pt x="572650" y="1774031"/>
                      <a:pt x="586937" y="1744504"/>
                    </a:cubicBezTo>
                    <a:lnTo>
                      <a:pt x="646945" y="1593056"/>
                    </a:lnTo>
                    <a:lnTo>
                      <a:pt x="668852" y="1583531"/>
                    </a:lnTo>
                    <a:lnTo>
                      <a:pt x="679330" y="1564481"/>
                    </a:lnTo>
                    <a:cubicBezTo>
                      <a:pt x="754577" y="1594009"/>
                      <a:pt x="835540" y="1610201"/>
                      <a:pt x="921265" y="1610201"/>
                    </a:cubicBezTo>
                    <a:cubicBezTo>
                      <a:pt x="1007942" y="1610201"/>
                      <a:pt x="1090810" y="1593056"/>
                      <a:pt x="1166057" y="1563529"/>
                    </a:cubicBezTo>
                    <a:lnTo>
                      <a:pt x="1165105" y="1566386"/>
                    </a:lnTo>
                    <a:lnTo>
                      <a:pt x="1167010" y="1566386"/>
                    </a:lnTo>
                    <a:lnTo>
                      <a:pt x="1179392" y="1589246"/>
                    </a:lnTo>
                    <a:lnTo>
                      <a:pt x="1201300" y="1598771"/>
                    </a:lnTo>
                    <a:lnTo>
                      <a:pt x="1261307" y="1750219"/>
                    </a:lnTo>
                    <a:cubicBezTo>
                      <a:pt x="1275595" y="1779746"/>
                      <a:pt x="1307027" y="1794986"/>
                      <a:pt x="1331792" y="1782604"/>
                    </a:cubicBezTo>
                    <a:cubicBezTo>
                      <a:pt x="1356557" y="1771174"/>
                      <a:pt x="1365130" y="1736884"/>
                      <a:pt x="1350842" y="1707356"/>
                    </a:cubicBezTo>
                    <a:lnTo>
                      <a:pt x="1270832" y="1564481"/>
                    </a:lnTo>
                    <a:lnTo>
                      <a:pt x="1277500" y="1541621"/>
                    </a:lnTo>
                    <a:lnTo>
                      <a:pt x="1267975" y="1517809"/>
                    </a:lnTo>
                    <a:lnTo>
                      <a:pt x="1259402" y="1517809"/>
                    </a:lnTo>
                    <a:cubicBezTo>
                      <a:pt x="1400372" y="1434941"/>
                      <a:pt x="1508957" y="1300639"/>
                      <a:pt x="1557535" y="1141571"/>
                    </a:cubicBezTo>
                    <a:lnTo>
                      <a:pt x="1582300" y="1145381"/>
                    </a:lnTo>
                    <a:lnTo>
                      <a:pt x="1603255" y="1133951"/>
                    </a:lnTo>
                    <a:lnTo>
                      <a:pt x="1760417" y="1177766"/>
                    </a:lnTo>
                    <a:cubicBezTo>
                      <a:pt x="1792802" y="1184434"/>
                      <a:pt x="1823282" y="1168241"/>
                      <a:pt x="1828997" y="1141571"/>
                    </a:cubicBezTo>
                    <a:cubicBezTo>
                      <a:pt x="1833760" y="1112996"/>
                      <a:pt x="1812805" y="1086326"/>
                      <a:pt x="1780420" y="1078706"/>
                    </a:cubicBezTo>
                    <a:close/>
                    <a:moveTo>
                      <a:pt x="914597" y="1473994"/>
                    </a:moveTo>
                    <a:cubicBezTo>
                      <a:pt x="621227" y="1473994"/>
                      <a:pt x="383102" y="1235869"/>
                      <a:pt x="383102" y="942499"/>
                    </a:cubicBezTo>
                    <a:cubicBezTo>
                      <a:pt x="383102" y="649129"/>
                      <a:pt x="621227" y="411004"/>
                      <a:pt x="914597" y="411004"/>
                    </a:cubicBezTo>
                    <a:cubicBezTo>
                      <a:pt x="1207967" y="411004"/>
                      <a:pt x="1446092" y="649129"/>
                      <a:pt x="1446092" y="942499"/>
                    </a:cubicBezTo>
                    <a:cubicBezTo>
                      <a:pt x="1446092" y="1235869"/>
                      <a:pt x="1207967" y="1473994"/>
                      <a:pt x="914597" y="1473994"/>
                    </a:cubicBezTo>
                    <a:close/>
                  </a:path>
                </a:pathLst>
              </a:custGeom>
              <a:solidFill>
                <a:srgbClr val="FFFFFF"/>
              </a:solidFill>
              <a:ln w="9525" cap="flat">
                <a:noFill/>
                <a:prstDash val="solid"/>
                <a:miter/>
              </a:ln>
            </p:spPr>
            <p:txBody>
              <a:bodyPr rtlCol="0" anchor="ctr"/>
              <a:lstStyle/>
              <a:p>
                <a:pPr defTabSz="896386">
                  <a:defRPr/>
                </a:pPr>
                <a:endParaRPr lang="en-IN" sz="1765">
                  <a:solidFill>
                    <a:srgbClr val="505050"/>
                  </a:solidFill>
                  <a:latin typeface="Segoe UI"/>
                </a:endParaRPr>
              </a:p>
            </p:txBody>
          </p:sp>
        </p:grpSp>
      </p:grpSp>
      <p:grpSp>
        <p:nvGrpSpPr>
          <p:cNvPr id="20" name="Group 19">
            <a:extLst>
              <a:ext uri="{FF2B5EF4-FFF2-40B4-BE49-F238E27FC236}">
                <a16:creationId xmlns:a16="http://schemas.microsoft.com/office/drawing/2014/main" id="{4EAC3DC1-C51F-4FE6-8455-8BAB3DD8035F}"/>
              </a:ext>
              <a:ext uri="{C183D7F6-B498-43B3-948B-1728B52AA6E4}">
                <adec:decorative xmlns:adec="http://schemas.microsoft.com/office/drawing/2017/decorative" val="1"/>
              </a:ext>
            </a:extLst>
          </p:cNvPr>
          <p:cNvGrpSpPr/>
          <p:nvPr/>
        </p:nvGrpSpPr>
        <p:grpSpPr>
          <a:xfrm>
            <a:off x="8127137" y="1536989"/>
            <a:ext cx="141194" cy="3228215"/>
            <a:chOff x="8205042" y="2372759"/>
            <a:chExt cx="144025" cy="3292947"/>
          </a:xfrm>
        </p:grpSpPr>
        <p:cxnSp>
          <p:nvCxnSpPr>
            <p:cNvPr id="41" name="Straight Connector 40">
              <a:extLst>
                <a:ext uri="{FF2B5EF4-FFF2-40B4-BE49-F238E27FC236}">
                  <a16:creationId xmlns:a16="http://schemas.microsoft.com/office/drawing/2014/main" id="{26D6C984-AA9C-454D-AF1C-202813D7E3B2}"/>
                </a:ext>
              </a:extLst>
            </p:cNvPr>
            <p:cNvCxnSpPr>
              <a:cxnSpLocks/>
            </p:cNvCxnSpPr>
            <p:nvPr/>
          </p:nvCxnSpPr>
          <p:spPr>
            <a:xfrm flipV="1">
              <a:off x="8277054" y="2677892"/>
              <a:ext cx="0" cy="110822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D1A675AA-73D1-4906-9A3F-4906CC223469}"/>
                </a:ext>
              </a:extLst>
            </p:cNvPr>
            <p:cNvSpPr/>
            <p:nvPr/>
          </p:nvSpPr>
          <p:spPr bwMode="auto">
            <a:xfrm rot="10800000">
              <a:off x="8205043" y="5521682"/>
              <a:ext cx="144024" cy="144024"/>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algn="ctr" defTabSz="878441" fontAlgn="base">
                <a:spcBef>
                  <a:spcPct val="0"/>
                </a:spcBef>
                <a:spcAft>
                  <a:spcPct val="0"/>
                </a:spcAft>
                <a:defRPr/>
              </a:pPr>
              <a:endParaRPr lang="en-US" sz="1884">
                <a:gradFill>
                  <a:gsLst>
                    <a:gs pos="0">
                      <a:srgbClr val="FFFFFF"/>
                    </a:gs>
                    <a:gs pos="100000">
                      <a:srgbClr val="FFFFFF"/>
                    </a:gs>
                  </a:gsLst>
                  <a:lin ang="5400000" scaled="0"/>
                </a:gradFill>
                <a:latin typeface="Segoe UI Semilight"/>
              </a:endParaRPr>
            </a:p>
          </p:txBody>
        </p:sp>
        <p:sp>
          <p:nvSpPr>
            <p:cNvPr id="38" name="Oval 37">
              <a:extLst>
                <a:ext uri="{FF2B5EF4-FFF2-40B4-BE49-F238E27FC236}">
                  <a16:creationId xmlns:a16="http://schemas.microsoft.com/office/drawing/2014/main" id="{21FD8B83-97B5-49C3-906E-4DC9C8D8F578}"/>
                </a:ext>
              </a:extLst>
            </p:cNvPr>
            <p:cNvSpPr/>
            <p:nvPr/>
          </p:nvSpPr>
          <p:spPr bwMode="auto">
            <a:xfrm rot="10800000">
              <a:off x="8205042" y="3947221"/>
              <a:ext cx="144024" cy="144024"/>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algn="ctr" defTabSz="878441" fontAlgn="base">
                <a:spcBef>
                  <a:spcPct val="0"/>
                </a:spcBef>
                <a:spcAft>
                  <a:spcPct val="0"/>
                </a:spcAft>
                <a:defRPr/>
              </a:pPr>
              <a:endParaRPr lang="en-US" sz="1884">
                <a:gradFill>
                  <a:gsLst>
                    <a:gs pos="0">
                      <a:srgbClr val="FFFFFF"/>
                    </a:gs>
                    <a:gs pos="100000">
                      <a:srgbClr val="FFFFFF"/>
                    </a:gs>
                  </a:gsLst>
                  <a:lin ang="5400000" scaled="0"/>
                </a:gradFill>
                <a:latin typeface="Segoe UI Semilight"/>
              </a:endParaRPr>
            </a:p>
          </p:txBody>
        </p:sp>
        <p:sp>
          <p:nvSpPr>
            <p:cNvPr id="39" name="Oval 38">
              <a:extLst>
                <a:ext uri="{FF2B5EF4-FFF2-40B4-BE49-F238E27FC236}">
                  <a16:creationId xmlns:a16="http://schemas.microsoft.com/office/drawing/2014/main" id="{9B1BF53F-80AB-4C10-A05C-B03BF52B9FD1}"/>
                </a:ext>
              </a:extLst>
            </p:cNvPr>
            <p:cNvSpPr/>
            <p:nvPr/>
          </p:nvSpPr>
          <p:spPr bwMode="auto">
            <a:xfrm rot="10800000">
              <a:off x="8205043" y="2372759"/>
              <a:ext cx="144024" cy="144024"/>
            </a:xfrm>
            <a:prstGeom prst="ellipse">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algn="ctr" defTabSz="878441" fontAlgn="base">
                <a:spcBef>
                  <a:spcPct val="0"/>
                </a:spcBef>
                <a:spcAft>
                  <a:spcPct val="0"/>
                </a:spcAft>
                <a:defRPr/>
              </a:pPr>
              <a:endParaRPr lang="en-US" sz="1884">
                <a:gradFill>
                  <a:gsLst>
                    <a:gs pos="0">
                      <a:srgbClr val="FFFFFF"/>
                    </a:gs>
                    <a:gs pos="100000">
                      <a:srgbClr val="FFFFFF"/>
                    </a:gs>
                  </a:gsLst>
                  <a:lin ang="5400000" scaled="0"/>
                </a:gradFill>
                <a:latin typeface="Segoe UI Semilight"/>
              </a:endParaRPr>
            </a:p>
          </p:txBody>
        </p:sp>
        <p:cxnSp>
          <p:nvCxnSpPr>
            <p:cNvPr id="28" name="Straight Connector 27">
              <a:extLst>
                <a:ext uri="{FF2B5EF4-FFF2-40B4-BE49-F238E27FC236}">
                  <a16:creationId xmlns:a16="http://schemas.microsoft.com/office/drawing/2014/main" id="{EA74451B-77D3-4815-88EB-9785195817C4}"/>
                </a:ext>
              </a:extLst>
            </p:cNvPr>
            <p:cNvCxnSpPr>
              <a:cxnSpLocks/>
            </p:cNvCxnSpPr>
            <p:nvPr/>
          </p:nvCxnSpPr>
          <p:spPr>
            <a:xfrm flipV="1">
              <a:off x="8277054" y="4252354"/>
              <a:ext cx="0" cy="1108220"/>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494E661E-8807-40E2-886B-A92540D3000D}"/>
              </a:ext>
              <a:ext uri="{C183D7F6-B498-43B3-948B-1728B52AA6E4}">
                <adec:decorative xmlns:adec="http://schemas.microsoft.com/office/drawing/2017/decorative" val="1"/>
              </a:ext>
            </a:extLst>
          </p:cNvPr>
          <p:cNvGrpSpPr/>
          <p:nvPr/>
        </p:nvGrpSpPr>
        <p:grpSpPr>
          <a:xfrm>
            <a:off x="455994" y="1424892"/>
            <a:ext cx="3061042" cy="1651260"/>
            <a:chOff x="465137" y="1452967"/>
            <a:chExt cx="3122422" cy="1684371"/>
          </a:xfrm>
        </p:grpSpPr>
        <p:grpSp>
          <p:nvGrpSpPr>
            <p:cNvPr id="36" name="Group 35">
              <a:extLst>
                <a:ext uri="{FF2B5EF4-FFF2-40B4-BE49-F238E27FC236}">
                  <a16:creationId xmlns:a16="http://schemas.microsoft.com/office/drawing/2014/main" id="{92AF7738-5584-43F4-AAA1-C18F274EA7C4}"/>
                </a:ext>
              </a:extLst>
            </p:cNvPr>
            <p:cNvGrpSpPr/>
            <p:nvPr/>
          </p:nvGrpSpPr>
          <p:grpSpPr>
            <a:xfrm>
              <a:off x="465137" y="1801189"/>
              <a:ext cx="3112593" cy="1336149"/>
              <a:chOff x="465137" y="2047192"/>
              <a:chExt cx="3112593" cy="1336149"/>
            </a:xfrm>
          </p:grpSpPr>
          <p:grpSp>
            <p:nvGrpSpPr>
              <p:cNvPr id="52" name="Group 51">
                <a:extLst>
                  <a:ext uri="{FF2B5EF4-FFF2-40B4-BE49-F238E27FC236}">
                    <a16:creationId xmlns:a16="http://schemas.microsoft.com/office/drawing/2014/main" id="{AA9555DE-8FBA-4BFC-949B-B4A30DDA95AE}"/>
                  </a:ext>
                </a:extLst>
              </p:cNvPr>
              <p:cNvGrpSpPr/>
              <p:nvPr/>
            </p:nvGrpSpPr>
            <p:grpSpPr>
              <a:xfrm>
                <a:off x="465137" y="2105056"/>
                <a:ext cx="3112593" cy="1278285"/>
                <a:chOff x="296726" y="1731910"/>
                <a:chExt cx="3112593" cy="1278285"/>
              </a:xfrm>
            </p:grpSpPr>
            <p:sp>
              <p:nvSpPr>
                <p:cNvPr id="55" name="Rectangle 54">
                  <a:extLst>
                    <a:ext uri="{FF2B5EF4-FFF2-40B4-BE49-F238E27FC236}">
                      <a16:creationId xmlns:a16="http://schemas.microsoft.com/office/drawing/2014/main" id="{599413FE-92BD-42A2-888C-E18ED7A59985}"/>
                    </a:ext>
                  </a:extLst>
                </p:cNvPr>
                <p:cNvSpPr/>
                <p:nvPr/>
              </p:nvSpPr>
              <p:spPr bwMode="auto">
                <a:xfrm>
                  <a:off x="296726" y="1731910"/>
                  <a:ext cx="3112593" cy="127828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69D039DA-D6CC-4BC3-B774-4C388BEBA283}"/>
                    </a:ext>
                  </a:extLst>
                </p:cNvPr>
                <p:cNvGrpSpPr/>
                <p:nvPr/>
              </p:nvGrpSpPr>
              <p:grpSpPr>
                <a:xfrm>
                  <a:off x="465137" y="1858536"/>
                  <a:ext cx="2887273" cy="1027435"/>
                  <a:chOff x="465137" y="1799530"/>
                  <a:chExt cx="2887273" cy="1027435"/>
                </a:xfrm>
              </p:grpSpPr>
              <p:sp>
                <p:nvSpPr>
                  <p:cNvPr id="66" name="Title 16">
                    <a:extLst>
                      <a:ext uri="{FF2B5EF4-FFF2-40B4-BE49-F238E27FC236}">
                        <a16:creationId xmlns:a16="http://schemas.microsoft.com/office/drawing/2014/main" id="{74A9A26F-5167-405F-91F2-6017BBDBA552}"/>
                      </a:ext>
                    </a:extLst>
                  </p:cNvPr>
                  <p:cNvSpPr txBox="1">
                    <a:spLocks/>
                  </p:cNvSpPr>
                  <p:nvPr/>
                </p:nvSpPr>
                <p:spPr>
                  <a:xfrm>
                    <a:off x="465138" y="1799530"/>
                    <a:ext cx="2887272" cy="43088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2745" b="0" spc="-49" dirty="0">
                        <a:solidFill>
                          <a:srgbClr val="FFFFFF"/>
                        </a:solidFill>
                        <a:latin typeface="Segoe UI Semibold" panose="020B0702040204020203" pitchFamily="34" charset="0"/>
                        <a:cs typeface="Segoe UI Semibold" panose="020B0702040204020203" pitchFamily="34" charset="0"/>
                      </a:rPr>
                      <a:t>88%</a:t>
                    </a:r>
                  </a:p>
                </p:txBody>
              </p:sp>
              <p:sp>
                <p:nvSpPr>
                  <p:cNvPr id="67" name="TextBox 66" descr="88% of enterprises using or adopting Kubernetes&#10;">
                    <a:extLst>
                      <a:ext uri="{FF2B5EF4-FFF2-40B4-BE49-F238E27FC236}">
                        <a16:creationId xmlns:a16="http://schemas.microsoft.com/office/drawing/2014/main" id="{B0C243E6-5237-4B0D-A65A-BD4C36E48BB2}"/>
                      </a:ext>
                    </a:extLst>
                  </p:cNvPr>
                  <p:cNvSpPr txBox="1"/>
                  <p:nvPr/>
                </p:nvSpPr>
                <p:spPr>
                  <a:xfrm>
                    <a:off x="465137" y="2180634"/>
                    <a:ext cx="2593128" cy="646331"/>
                  </a:xfrm>
                  <a:prstGeom prst="rect">
                    <a:avLst/>
                  </a:prstGeom>
                  <a:noFill/>
                </p:spPr>
                <p:txBody>
                  <a:bodyPr wrap="square" lIns="0" rIns="0" rtlCol="0" anchor="t">
                    <a:spAutoFit/>
                  </a:bodyPr>
                  <a:lstStyle/>
                  <a:p>
                    <a:pPr defTabSz="914367">
                      <a:lnSpc>
                        <a:spcPct val="90000"/>
                      </a:lnSpc>
                      <a:defRPr/>
                    </a:pPr>
                    <a:r>
                      <a:rPr lang="en-US" sz="1961" dirty="0">
                        <a:solidFill>
                          <a:srgbClr val="FFFFFF"/>
                        </a:solidFill>
                        <a:latin typeface="Segoe UI"/>
                        <a:cs typeface="Segoe UI" panose="020B0502040204020203" pitchFamily="34" charset="0"/>
                      </a:rPr>
                      <a:t>of enterprises using or adopting Kubernetes</a:t>
                    </a:r>
                    <a:endParaRPr lang="en-US" sz="1961" baseline="30000" dirty="0">
                      <a:solidFill>
                        <a:srgbClr val="FFFFFF"/>
                      </a:solidFill>
                      <a:latin typeface="Segoe UI"/>
                      <a:cs typeface="Segoe UI" panose="020B0502040204020203" pitchFamily="34" charset="0"/>
                    </a:endParaRPr>
                  </a:p>
                </p:txBody>
              </p:sp>
            </p:grpSp>
          </p:grpSp>
          <p:cxnSp>
            <p:nvCxnSpPr>
              <p:cNvPr id="54" name="Straight Connector 53">
                <a:extLst>
                  <a:ext uri="{FF2B5EF4-FFF2-40B4-BE49-F238E27FC236}">
                    <a16:creationId xmlns:a16="http://schemas.microsoft.com/office/drawing/2014/main" id="{4481D74B-230A-4730-9913-481E0E534210}"/>
                  </a:ext>
                </a:extLst>
              </p:cNvPr>
              <p:cNvCxnSpPr>
                <a:cxnSpLocks/>
              </p:cNvCxnSpPr>
              <p:nvPr/>
            </p:nvCxnSpPr>
            <p:spPr>
              <a:xfrm>
                <a:off x="465137" y="2047192"/>
                <a:ext cx="3112593" cy="0"/>
              </a:xfrm>
              <a:prstGeom prst="line">
                <a:avLst/>
              </a:prstGeom>
              <a:ln w="12700">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1" name="Title 16">
              <a:extLst>
                <a:ext uri="{FF2B5EF4-FFF2-40B4-BE49-F238E27FC236}">
                  <a16:creationId xmlns:a16="http://schemas.microsoft.com/office/drawing/2014/main" id="{CB3C66E0-9868-42DF-945F-8CD0052E2469}"/>
                </a:ext>
              </a:extLst>
            </p:cNvPr>
            <p:cNvSpPr txBox="1">
              <a:spLocks/>
            </p:cNvSpPr>
            <p:nvPr/>
          </p:nvSpPr>
          <p:spPr>
            <a:xfrm>
              <a:off x="465137" y="1452967"/>
              <a:ext cx="3122422" cy="246221"/>
            </a:xfrm>
            <a:prstGeom prst="rect">
              <a:avLst/>
            </a:prstGeom>
          </p:spPr>
          <p:txBody>
            <a:bodyPr vert="horz" wrap="square" lIns="0" tIns="0" rIns="0" bIns="0" numCol="1"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1568" b="0" spc="0" dirty="0">
                  <a:ln>
                    <a:noFill/>
                  </a:ln>
                  <a:solidFill>
                    <a:srgbClr val="2C292A"/>
                  </a:solidFill>
                  <a:latin typeface="Segoe UI Semibold"/>
                </a:rPr>
                <a:t>Microsoft investing in Kubernetes</a:t>
              </a:r>
            </a:p>
          </p:txBody>
        </p:sp>
      </p:grpSp>
      <p:sp>
        <p:nvSpPr>
          <p:cNvPr id="17" name="TextBox 16">
            <a:extLst>
              <a:ext uri="{FF2B5EF4-FFF2-40B4-BE49-F238E27FC236}">
                <a16:creationId xmlns:a16="http://schemas.microsoft.com/office/drawing/2014/main" id="{E877FD99-08D9-413D-868D-6D7045454B37}"/>
              </a:ext>
            </a:extLst>
          </p:cNvPr>
          <p:cNvSpPr txBox="1"/>
          <p:nvPr/>
        </p:nvSpPr>
        <p:spPr>
          <a:xfrm>
            <a:off x="455995" y="3335962"/>
            <a:ext cx="2791319" cy="1418114"/>
          </a:xfrm>
          <a:prstGeom prst="rect">
            <a:avLst/>
          </a:prstGeom>
          <a:noFill/>
        </p:spPr>
        <p:txBody>
          <a:bodyPr wrap="square" lIns="0" tIns="0" rIns="0" bIns="0">
            <a:spAutoFit/>
          </a:bodyPr>
          <a:lstStyle/>
          <a:p>
            <a:pPr marL="179277" indent="-179277" defTabSz="448193">
              <a:spcAft>
                <a:spcPts val="588"/>
              </a:spcAft>
              <a:buClr>
                <a:srgbClr val="0078D4"/>
              </a:buClr>
              <a:buFont typeface="Arial" panose="020B0604020202020204" pitchFamily="34" charset="0"/>
              <a:buChar char="•"/>
              <a:defRPr/>
            </a:pPr>
            <a:r>
              <a:rPr lang="en-US" sz="1176" dirty="0">
                <a:solidFill>
                  <a:srgbClr val="0078D4"/>
                </a:solidFill>
                <a:latin typeface="Segoe UI Semibold" panose="020B0702040204020203" pitchFamily="34" charset="0"/>
                <a:cs typeface="Segoe UI Semibold" panose="020B0702040204020203" pitchFamily="34" charset="0"/>
              </a:rPr>
              <a:t>74%</a:t>
            </a:r>
            <a:r>
              <a:rPr lang="en-US" sz="1176" dirty="0">
                <a:solidFill>
                  <a:srgbClr val="2C292A"/>
                </a:solidFill>
                <a:latin typeface="Segoe UI" panose="020B0502040204020203" pitchFamily="34" charset="0"/>
                <a:cs typeface="Segoe UI" panose="020B0502040204020203" pitchFamily="34" charset="0"/>
              </a:rPr>
              <a:t> of enterprises that use Kubernetes are running workloads in production</a:t>
            </a:r>
            <a:endParaRPr lang="en-US" sz="1176" baseline="30000" dirty="0">
              <a:solidFill>
                <a:srgbClr val="2C292A"/>
              </a:solidFill>
              <a:latin typeface="Segoe UI" panose="020B0502040204020203" pitchFamily="34" charset="0"/>
              <a:cs typeface="Segoe UI" panose="020B0502040204020203" pitchFamily="34" charset="0"/>
            </a:endParaRPr>
          </a:p>
          <a:p>
            <a:pPr marL="179277" indent="-179277" defTabSz="448193">
              <a:spcAft>
                <a:spcPts val="588"/>
              </a:spcAft>
              <a:buClr>
                <a:srgbClr val="0078D4"/>
              </a:buClr>
              <a:buFont typeface="Arial" panose="020B0604020202020204" pitchFamily="34" charset="0"/>
              <a:buChar char="•"/>
              <a:defRPr/>
            </a:pPr>
            <a:r>
              <a:rPr lang="en-US" sz="1176" dirty="0">
                <a:solidFill>
                  <a:srgbClr val="0078D4"/>
                </a:solidFill>
                <a:latin typeface="Segoe UI Semibold" panose="020B0702040204020203" pitchFamily="34" charset="0"/>
                <a:cs typeface="Segoe UI Semibold" panose="020B0702040204020203" pitchFamily="34" charset="0"/>
              </a:rPr>
              <a:t>74%</a:t>
            </a:r>
            <a:r>
              <a:rPr lang="en-US" sz="1176" dirty="0">
                <a:solidFill>
                  <a:srgbClr val="2C292A"/>
                </a:solidFill>
                <a:latin typeface="Segoe UI" panose="020B0502040204020203" pitchFamily="34" charset="0"/>
                <a:cs typeface="Segoe UI" panose="020B0502040204020203" pitchFamily="34" charset="0"/>
              </a:rPr>
              <a:t> of survey respondents have a DevSecOps initiative underway</a:t>
            </a:r>
          </a:p>
          <a:p>
            <a:pPr marL="179277" indent="-179277" defTabSz="448193">
              <a:spcAft>
                <a:spcPts val="588"/>
              </a:spcAft>
              <a:buClr>
                <a:srgbClr val="0078D4"/>
              </a:buClr>
              <a:buFont typeface="Arial" panose="020B0604020202020204" pitchFamily="34" charset="0"/>
              <a:buChar char="•"/>
              <a:defRPr/>
            </a:pPr>
            <a:r>
              <a:rPr lang="en-US" sz="1176" dirty="0">
                <a:solidFill>
                  <a:srgbClr val="2C292A"/>
                </a:solidFill>
                <a:latin typeface="Segoe UI" panose="020B0502040204020203" pitchFamily="34" charset="0"/>
                <a:cs typeface="Segoe UI" panose="020B0502040204020203" pitchFamily="34" charset="0"/>
              </a:rPr>
              <a:t>At least 20% of enterprises that use Kubernetes leverage </a:t>
            </a:r>
            <a:r>
              <a:rPr lang="en-US" sz="1176" dirty="0">
                <a:solidFill>
                  <a:srgbClr val="0078D4"/>
                </a:solidFill>
                <a:latin typeface="Segoe UI Semibold" panose="020B0702040204020203" pitchFamily="34" charset="0"/>
                <a:cs typeface="Segoe UI Semibold" panose="020B0702040204020203" pitchFamily="34" charset="0"/>
              </a:rPr>
              <a:t>six different open-source security tools</a:t>
            </a:r>
          </a:p>
        </p:txBody>
      </p:sp>
      <p:sp>
        <p:nvSpPr>
          <p:cNvPr id="18" name="Isosceles Triangle 17">
            <a:extLst>
              <a:ext uri="{FF2B5EF4-FFF2-40B4-BE49-F238E27FC236}">
                <a16:creationId xmlns:a16="http://schemas.microsoft.com/office/drawing/2014/main" id="{AE460E9A-0A49-4445-B67D-33AFF486683D}"/>
              </a:ext>
              <a:ext uri="{C183D7F6-B498-43B3-948B-1728B52AA6E4}">
                <adec:decorative xmlns:adec="http://schemas.microsoft.com/office/drawing/2017/decorative" val="1"/>
              </a:ext>
            </a:extLst>
          </p:cNvPr>
          <p:cNvSpPr/>
          <p:nvPr/>
        </p:nvSpPr>
        <p:spPr bwMode="auto">
          <a:xfrm flipV="1">
            <a:off x="455994" y="3119949"/>
            <a:ext cx="311172" cy="116017"/>
          </a:xfrm>
          <a:prstGeom prst="triangl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TextBox 69">
            <a:extLst>
              <a:ext uri="{FF2B5EF4-FFF2-40B4-BE49-F238E27FC236}">
                <a16:creationId xmlns:a16="http://schemas.microsoft.com/office/drawing/2014/main" id="{5FC365A1-28D2-48B8-8AF4-710D8E9101F3}"/>
              </a:ext>
            </a:extLst>
          </p:cNvPr>
          <p:cNvSpPr txBox="1"/>
          <p:nvPr/>
        </p:nvSpPr>
        <p:spPr>
          <a:xfrm>
            <a:off x="1938260" y="5315378"/>
            <a:ext cx="9622341" cy="120691"/>
          </a:xfrm>
          <a:prstGeom prst="rect">
            <a:avLst/>
          </a:prstGeom>
          <a:noFill/>
        </p:spPr>
        <p:txBody>
          <a:bodyPr wrap="square" lIns="0" tIns="0" rIns="0" bIns="0" rtlCol="0" anchor="t">
            <a:spAutoFit/>
          </a:bodyPr>
          <a:lstStyle/>
          <a:p>
            <a:pPr algn="r" defTabSz="914314">
              <a:spcAft>
                <a:spcPts val="588"/>
              </a:spcAft>
              <a:defRPr/>
            </a:pPr>
            <a:r>
              <a:rPr lang="en-US" sz="784" dirty="0">
                <a:solidFill>
                  <a:srgbClr val="3C3C41"/>
                </a:solidFill>
                <a:latin typeface="Segoe UI"/>
                <a:cs typeface="Segoe UI Light" panose="020B0502040204020203" pitchFamily="34" charset="0"/>
              </a:rPr>
              <a:t>All statistics from Red Hat. “Kubernetes adoption, security, and market trends report 2021.” July 14, 2021. </a:t>
            </a:r>
            <a:r>
              <a:rPr lang="en-US" sz="784" dirty="0">
                <a:solidFill>
                  <a:srgbClr val="0078D4"/>
                </a:solidFill>
                <a:latin typeface="Segoe UI"/>
                <a:cs typeface="Segoe UI Light" panose="020B0502040204020203" pitchFamily="34" charset="0"/>
                <a:hlinkClick r:id="rId3">
                  <a:extLst>
                    <a:ext uri="{A12FA001-AC4F-418D-AE19-62706E023703}">
                      <ahyp:hlinkClr xmlns:ahyp="http://schemas.microsoft.com/office/drawing/2018/hyperlinkcolor" val="tx"/>
                    </a:ext>
                  </a:extLst>
                </a:hlinkClick>
              </a:rPr>
              <a:t>Report</a:t>
            </a:r>
            <a:r>
              <a:rPr lang="en-US" sz="784" dirty="0">
                <a:solidFill>
                  <a:srgbClr val="3C3C41"/>
                </a:solidFill>
                <a:latin typeface="Segoe UI"/>
                <a:cs typeface="Segoe UI Light" panose="020B0502040204020203" pitchFamily="34" charset="0"/>
              </a:rPr>
              <a:t>.</a:t>
            </a:r>
          </a:p>
        </p:txBody>
      </p:sp>
      <p:sp>
        <p:nvSpPr>
          <p:cNvPr id="6" name="Title 3">
            <a:extLst>
              <a:ext uri="{FF2B5EF4-FFF2-40B4-BE49-F238E27FC236}">
                <a16:creationId xmlns:a16="http://schemas.microsoft.com/office/drawing/2014/main" id="{AF21E99A-859A-EF4D-4E51-27D1166362F6}"/>
              </a:ext>
            </a:extLst>
          </p:cNvPr>
          <p:cNvSpPr txBox="1">
            <a:spLocks/>
          </p:cNvSpPr>
          <p:nvPr/>
        </p:nvSpPr>
        <p:spPr>
          <a:xfrm>
            <a:off x="455995" y="620827"/>
            <a:ext cx="5747543" cy="39754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563" rtl="0" eaLnBrk="1" latinLnBrk="0" hangingPunct="1">
              <a:lnSpc>
                <a:spcPts val="3200"/>
              </a:lnSpc>
              <a:spcBef>
                <a:spcPct val="0"/>
              </a:spcBef>
              <a:buNone/>
              <a:defRPr lang="en-US" sz="2800" b="0" kern="1200" cap="none" spc="-102" baseline="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pPr defTabSz="914192">
              <a:lnSpc>
                <a:spcPts val="3137"/>
              </a:lnSpc>
              <a:defRPr/>
            </a:pPr>
            <a:r>
              <a:rPr lang="it-IT" sz="2745" spc="-49" dirty="0">
                <a:solidFill>
                  <a:srgbClr val="0078D4"/>
                </a:solidFill>
              </a:rPr>
              <a:t>Kubernetes: </a:t>
            </a:r>
            <a:r>
              <a:rPr lang="it-IT" sz="2745" spc="-49" dirty="0">
                <a:solidFill>
                  <a:srgbClr val="3C3C41"/>
                </a:solidFill>
              </a:rPr>
              <a:t>the de facto orchestrator</a:t>
            </a:r>
          </a:p>
        </p:txBody>
      </p:sp>
    </p:spTree>
    <p:extLst>
      <p:ext uri="{BB962C8B-B14F-4D97-AF65-F5344CB8AC3E}">
        <p14:creationId xmlns:p14="http://schemas.microsoft.com/office/powerpoint/2010/main" val="15633127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2326" y="381530"/>
            <a:ext cx="4158362" cy="1316037"/>
          </a:xfrm>
        </p:spPr>
        <p:txBody>
          <a:bodyPr vert="horz" wrap="square" lIns="0" tIns="0" rIns="0" bIns="0" rtlCol="0" anchor="b">
            <a:normAutofit fontScale="90000"/>
          </a:bodyPr>
          <a:lstStyle/>
          <a:p>
            <a:r>
              <a:rPr lang="en-US" b="0" kern="1200" cap="none" spc="-50" baseline="0" dirty="0">
                <a:ln w="3175">
                  <a:noFill/>
                </a:ln>
                <a:effectLst/>
                <a:latin typeface="+mj-lt"/>
                <a:ea typeface="+mn-ea"/>
                <a:cs typeface="Segoe UI" pitchFamily="34" charset="0"/>
              </a:rPr>
              <a:t>AKS Well-Architected Assessment</a:t>
            </a:r>
          </a:p>
        </p:txBody>
      </p:sp>
      <p:sp>
        <p:nvSpPr>
          <p:cNvPr id="3" name="TextBox 2">
            <a:extLst>
              <a:ext uri="{FF2B5EF4-FFF2-40B4-BE49-F238E27FC236}">
                <a16:creationId xmlns:a16="http://schemas.microsoft.com/office/drawing/2014/main" id="{EB0EF1DD-C4B8-5E4D-241C-AB880D6D6124}"/>
              </a:ext>
            </a:extLst>
          </p:cNvPr>
          <p:cNvSpPr txBox="1"/>
          <p:nvPr/>
        </p:nvSpPr>
        <p:spPr>
          <a:xfrm>
            <a:off x="588263" y="1928901"/>
            <a:ext cx="4162425" cy="2733497"/>
          </a:xfrm>
          <a:prstGeom prst="rect">
            <a:avLst/>
          </a:prstGeom>
        </p:spPr>
        <p:txBody>
          <a:bodyPr vert="horz" wrap="square" lIns="0" tIns="0" rIns="0" bIns="0" rtlCol="0">
            <a:normAutofit/>
          </a:bodyPr>
          <a:lstStyle/>
          <a:p>
            <a:pPr defTabSz="932742">
              <a:lnSpc>
                <a:spcPct val="90000"/>
              </a:lnSpc>
              <a:spcBef>
                <a:spcPct val="20000"/>
              </a:spcBef>
              <a:buSzPct val="90000"/>
            </a:pPr>
            <a:r>
              <a:rPr lang="en-US" sz="1700" b="0" i="0" kern="1200" spc="0" baseline="0" dirty="0">
                <a:effectLst/>
                <a:latin typeface="+mn-lt"/>
                <a:ea typeface="+mn-ea"/>
                <a:cs typeface="Segoe UI" panose="020B0502040204020203" pitchFamily="34" charset="0"/>
              </a:rPr>
              <a:t>Kubernetes and its Azure implementation has become a market standard for deploying modern cloud-oriented microservice applications. </a:t>
            </a:r>
          </a:p>
          <a:p>
            <a:pPr defTabSz="932742">
              <a:lnSpc>
                <a:spcPct val="90000"/>
              </a:lnSpc>
              <a:spcBef>
                <a:spcPct val="20000"/>
              </a:spcBef>
              <a:buSzPct val="90000"/>
            </a:pPr>
            <a:r>
              <a:rPr lang="en-US" sz="1700" b="0" i="0" kern="1200" spc="0" baseline="0" dirty="0">
                <a:effectLst/>
                <a:latin typeface="+mn-lt"/>
                <a:ea typeface="+mn-ea"/>
                <a:cs typeface="Segoe UI" panose="020B0502040204020203" pitchFamily="34" charset="0"/>
              </a:rPr>
              <a:t>The purpose of the assessment is to verify that Microsoft good practices are applied to prevent security or reliability problems from compromising compliance with the service level agreements guaranteed by the hosted applications in the future.</a:t>
            </a:r>
            <a:endParaRPr lang="en-US" sz="1700" i="1" kern="1200" spc="0" baseline="0" dirty="0">
              <a:latin typeface="+mn-lt"/>
              <a:ea typeface="+mn-ea"/>
              <a:cs typeface="Segoe UI" panose="020B0502040204020203" pitchFamily="34" charset="0"/>
            </a:endParaRPr>
          </a:p>
        </p:txBody>
      </p:sp>
      <p:pic>
        <p:nvPicPr>
          <p:cNvPr id="6" name="Picture 5" descr="Cloud shaped hard drive with cables">
            <a:extLst>
              <a:ext uri="{FF2B5EF4-FFF2-40B4-BE49-F238E27FC236}">
                <a16:creationId xmlns:a16="http://schemas.microsoft.com/office/drawing/2014/main" id="{7779271E-3E4B-32F6-D828-A41A9B26704D}"/>
              </a:ext>
            </a:extLst>
          </p:cNvPr>
          <p:cNvPicPr>
            <a:picLocks noChangeAspect="1"/>
          </p:cNvPicPr>
          <p:nvPr/>
        </p:nvPicPr>
        <p:blipFill rotWithShape="1">
          <a:blip r:embed="rId3"/>
          <a:srcRect l="15100" r="27651" b="1"/>
          <a:stretch/>
        </p:blipFill>
        <p:spPr>
          <a:xfrm>
            <a:off x="5334000" y="10"/>
            <a:ext cx="6858000" cy="6857990"/>
          </a:xfrm>
          <a:prstGeom prst="rect">
            <a:avLst/>
          </a:prstGeom>
          <a:noFill/>
        </p:spPr>
      </p:pic>
      <p:sp>
        <p:nvSpPr>
          <p:cNvPr id="4" name="TextBox 3">
            <a:extLst>
              <a:ext uri="{FF2B5EF4-FFF2-40B4-BE49-F238E27FC236}">
                <a16:creationId xmlns:a16="http://schemas.microsoft.com/office/drawing/2014/main" id="{DE60D4BB-BDBC-033D-B4C3-0D96564CD154}"/>
              </a:ext>
            </a:extLst>
          </p:cNvPr>
          <p:cNvSpPr txBox="1"/>
          <p:nvPr/>
        </p:nvSpPr>
        <p:spPr>
          <a:xfrm>
            <a:off x="588262" y="4694766"/>
            <a:ext cx="4162425" cy="1849438"/>
          </a:xfrm>
          <a:prstGeom prst="rect">
            <a:avLst/>
          </a:prstGeom>
        </p:spPr>
        <p:txBody>
          <a:bodyPr vert="horz" wrap="square" lIns="0" tIns="0" rIns="0" bIns="0" rtlCol="0">
            <a:normAutofit lnSpcReduction="10000"/>
          </a:bodyPr>
          <a:lstStyle/>
          <a:p>
            <a:pPr defTabSz="932742">
              <a:lnSpc>
                <a:spcPct val="90000"/>
              </a:lnSpc>
              <a:spcBef>
                <a:spcPct val="20000"/>
              </a:spcBef>
              <a:buSzPct val="90000"/>
            </a:pPr>
            <a:r>
              <a:rPr lang="en-US" sz="1700" b="0" i="0" kern="1200" spc="0" baseline="0" dirty="0">
                <a:effectLst/>
                <a:latin typeface="+mn-lt"/>
                <a:ea typeface="+mn-ea"/>
                <a:cs typeface="Segoe UI" panose="020B0502040204020203" pitchFamily="34" charset="0"/>
              </a:rPr>
              <a:t>Refs:</a:t>
            </a:r>
            <a:br>
              <a:rPr lang="en-US" sz="1700" b="0" i="0" kern="1200" spc="0" baseline="0" dirty="0">
                <a:effectLst/>
                <a:latin typeface="+mn-lt"/>
                <a:ea typeface="+mn-ea"/>
                <a:cs typeface="Segoe UI" panose="020B0502040204020203" pitchFamily="34" charset="0"/>
              </a:rPr>
            </a:br>
            <a:r>
              <a:rPr lang="en-US" sz="1600" dirty="0">
                <a:hlinkClick r:id="rId4"/>
              </a:rPr>
              <a:t>Best practices for Azure Kubernetes Service (AKS) - Azure Kubernetes Service | Microsoft Learn</a:t>
            </a:r>
            <a:br>
              <a:rPr lang="en-US" sz="1600" dirty="0"/>
            </a:br>
            <a:br>
              <a:rPr lang="en-US" sz="1600" dirty="0"/>
            </a:br>
            <a:r>
              <a:rPr lang="en-US" sz="1600" dirty="0">
                <a:hlinkClick r:id="rId5"/>
              </a:rPr>
              <a:t>Azure Well-Architected Framework review for Azure Kubernetes Service (AKS) - Microsoft Azure Well-Architected Framework | Microsoft Learn</a:t>
            </a:r>
            <a:endParaRPr lang="en-US" sz="1700" i="1" kern="1200" spc="0" baseline="0" dirty="0">
              <a:latin typeface="+mn-lt"/>
              <a:ea typeface="+mn-ea"/>
              <a:cs typeface="Segoe UI" panose="020B0502040204020203" pitchFamily="34" charset="0"/>
            </a:endParaRPr>
          </a:p>
        </p:txBody>
      </p:sp>
    </p:spTree>
    <p:extLst>
      <p:ext uri="{BB962C8B-B14F-4D97-AF65-F5344CB8AC3E}">
        <p14:creationId xmlns:p14="http://schemas.microsoft.com/office/powerpoint/2010/main" val="347526373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431" y="124837"/>
            <a:ext cx="4158362" cy="651403"/>
          </a:xfrm>
        </p:spPr>
        <p:txBody>
          <a:bodyPr vert="horz" wrap="square" lIns="0" tIns="0" rIns="0" bIns="0" rtlCol="0" anchor="b">
            <a:normAutofit/>
          </a:bodyPr>
          <a:lstStyle/>
          <a:p>
            <a:r>
              <a:rPr lang="en-US" b="0" kern="1200" cap="none" spc="-50" baseline="0" dirty="0">
                <a:ln w="3175">
                  <a:noFill/>
                </a:ln>
                <a:effectLst/>
                <a:latin typeface="+mj-lt"/>
                <a:ea typeface="+mn-ea"/>
                <a:cs typeface="Segoe UI" pitchFamily="34" charset="0"/>
              </a:rPr>
              <a:t>Checks</a:t>
            </a:r>
          </a:p>
        </p:txBody>
      </p:sp>
      <p:sp>
        <p:nvSpPr>
          <p:cNvPr id="3" name="TextBox 2">
            <a:extLst>
              <a:ext uri="{FF2B5EF4-FFF2-40B4-BE49-F238E27FC236}">
                <a16:creationId xmlns:a16="http://schemas.microsoft.com/office/drawing/2014/main" id="{EB0EF1DD-C4B8-5E4D-241C-AB880D6D6124}"/>
              </a:ext>
            </a:extLst>
          </p:cNvPr>
          <p:cNvSpPr txBox="1"/>
          <p:nvPr/>
        </p:nvSpPr>
        <p:spPr>
          <a:xfrm>
            <a:off x="321564" y="776240"/>
            <a:ext cx="4821767" cy="5014960"/>
          </a:xfrm>
          <a:prstGeom prst="rect">
            <a:avLst/>
          </a:prstGeom>
        </p:spPr>
        <p:txBody>
          <a:bodyPr vert="horz" wrap="square" lIns="0" tIns="0" rIns="0" bIns="0" rtlCol="0">
            <a:noAutofit/>
          </a:bodyPr>
          <a:lstStyle/>
          <a:p>
            <a:pPr algn="l"/>
            <a:r>
              <a:rPr lang="en-US" sz="1400" b="1" i="0" dirty="0">
                <a:effectLst/>
              </a:rPr>
              <a:t>Security:</a:t>
            </a:r>
          </a:p>
          <a:p>
            <a:pPr marL="171450" indent="-171450" algn="l">
              <a:buFont typeface="Arial" panose="020B0604020202020204" pitchFamily="34" charset="0"/>
              <a:buChar char="•"/>
            </a:pPr>
            <a:r>
              <a:rPr lang="en-US" sz="1400" b="0" i="0" dirty="0">
                <a:effectLst/>
              </a:rPr>
              <a:t>Cluster must be private</a:t>
            </a:r>
          </a:p>
          <a:p>
            <a:pPr marL="171450" indent="-171450" algn="l">
              <a:buFont typeface="Arial" panose="020B0604020202020204" pitchFamily="34" charset="0"/>
              <a:buChar char="•"/>
            </a:pPr>
            <a:r>
              <a:rPr lang="en-US" sz="1400" b="0" i="0" dirty="0">
                <a:effectLst/>
              </a:rPr>
              <a:t>NSG should be linked to node pools subnets</a:t>
            </a:r>
          </a:p>
          <a:p>
            <a:pPr marL="171450" indent="-171450" algn="l">
              <a:buFont typeface="Arial" panose="020B0604020202020204" pitchFamily="34" charset="0"/>
              <a:buChar char="•"/>
            </a:pPr>
            <a:r>
              <a:rPr lang="en-US" sz="1400" b="0" i="0" dirty="0">
                <a:effectLst/>
              </a:rPr>
              <a:t>External IP addresses should not be associated with AKS load balancer</a:t>
            </a:r>
          </a:p>
          <a:p>
            <a:pPr marL="171450" indent="-171450" algn="l">
              <a:buFont typeface="Arial" panose="020B0604020202020204" pitchFamily="34" charset="0"/>
              <a:buChar char="•"/>
            </a:pPr>
            <a:r>
              <a:rPr lang="en-US" sz="1400" b="0" i="0" dirty="0">
                <a:effectLst/>
              </a:rPr>
              <a:t>Network policies (Azure or Calico) should be enabled</a:t>
            </a:r>
          </a:p>
          <a:p>
            <a:pPr marL="171450" indent="-171450" algn="l">
              <a:buFont typeface="Arial" panose="020B0604020202020204" pitchFamily="34" charset="0"/>
              <a:buChar char="•"/>
            </a:pPr>
            <a:r>
              <a:rPr lang="en-US" sz="1400" b="0" i="0" dirty="0">
                <a:effectLst/>
              </a:rPr>
              <a:t>Public FQDN should be disabled</a:t>
            </a:r>
          </a:p>
          <a:p>
            <a:pPr marL="171450" indent="-171450" algn="l">
              <a:buFont typeface="Arial" panose="020B0604020202020204" pitchFamily="34" charset="0"/>
              <a:buChar char="•"/>
            </a:pPr>
            <a:r>
              <a:rPr lang="en-US" sz="1400" b="0" i="0" dirty="0">
                <a:effectLst/>
              </a:rPr>
              <a:t>Defender profile should be enabled</a:t>
            </a:r>
          </a:p>
          <a:p>
            <a:pPr marL="171450" indent="-171450" algn="l">
              <a:buFont typeface="Arial" panose="020B0604020202020204" pitchFamily="34" charset="0"/>
              <a:buChar char="•"/>
            </a:pPr>
            <a:r>
              <a:rPr lang="en-US" sz="1400" b="0" i="0" dirty="0">
                <a:effectLst/>
              </a:rPr>
              <a:t>Policy add-on should be enabled</a:t>
            </a:r>
          </a:p>
          <a:p>
            <a:pPr marL="171450" indent="-171450" algn="l">
              <a:buFont typeface="Arial" panose="020B0604020202020204" pitchFamily="34" charset="0"/>
              <a:buChar char="•"/>
            </a:pPr>
            <a:r>
              <a:rPr lang="en-US" sz="1400" b="0" i="0" dirty="0">
                <a:effectLst/>
              </a:rPr>
              <a:t>KMS should be enabled</a:t>
            </a:r>
          </a:p>
          <a:p>
            <a:pPr marL="171450" indent="-171450" algn="l">
              <a:buFont typeface="Arial" panose="020B0604020202020204" pitchFamily="34" charset="0"/>
              <a:buChar char="•"/>
            </a:pPr>
            <a:r>
              <a:rPr lang="en-US" sz="1400" b="0" i="0" dirty="0">
                <a:effectLst/>
              </a:rPr>
              <a:t>RBAC should be enabled</a:t>
            </a:r>
          </a:p>
          <a:p>
            <a:pPr marL="171450" indent="-171450" algn="l">
              <a:buFont typeface="Arial" panose="020B0604020202020204" pitchFamily="34" charset="0"/>
              <a:buChar char="•"/>
            </a:pPr>
            <a:r>
              <a:rPr lang="en-US" sz="1400" b="0" i="0" dirty="0">
                <a:effectLst/>
              </a:rPr>
              <a:t>AAD authentication should be enabled</a:t>
            </a:r>
          </a:p>
          <a:p>
            <a:pPr marL="171450" indent="-171450" algn="l">
              <a:buFont typeface="Arial" panose="020B0604020202020204" pitchFamily="34" charset="0"/>
              <a:buChar char="•"/>
            </a:pPr>
            <a:r>
              <a:rPr lang="en-US" sz="1400" b="0" i="0" dirty="0">
                <a:effectLst/>
              </a:rPr>
              <a:t>Workload Identity should be enabled</a:t>
            </a:r>
          </a:p>
          <a:p>
            <a:pPr algn="l"/>
            <a:r>
              <a:rPr lang="en-US" sz="1400" b="1" i="0" dirty="0">
                <a:effectLst/>
              </a:rPr>
              <a:t>Observability:</a:t>
            </a:r>
          </a:p>
          <a:p>
            <a:pPr marL="171450" indent="-171450" algn="l">
              <a:buFont typeface="Arial" panose="020B0604020202020204" pitchFamily="34" charset="0"/>
              <a:buChar char="•"/>
            </a:pPr>
            <a:r>
              <a:rPr lang="en-US" sz="1400" b="0" i="0" dirty="0">
                <a:effectLst/>
              </a:rPr>
              <a:t>Container Insights should be enabled</a:t>
            </a:r>
          </a:p>
          <a:p>
            <a:pPr marL="171450" indent="-171450" algn="l">
              <a:buFont typeface="Arial" panose="020B0604020202020204" pitchFamily="34" charset="0"/>
              <a:buChar char="•"/>
            </a:pPr>
            <a:r>
              <a:rPr lang="en-US" sz="1400" b="0" i="0" dirty="0">
                <a:effectLst/>
              </a:rPr>
              <a:t>Diagnostic Settings should be enabled</a:t>
            </a:r>
          </a:p>
          <a:p>
            <a:pPr algn="l"/>
            <a:r>
              <a:rPr lang="en-US" sz="1400" b="1" i="0" dirty="0">
                <a:effectLst/>
              </a:rPr>
              <a:t>Resiliency:</a:t>
            </a:r>
          </a:p>
          <a:p>
            <a:pPr marL="171450" indent="-171450" algn="l">
              <a:buFont typeface="Arial" panose="020B0604020202020204" pitchFamily="34" charset="0"/>
              <a:buChar char="•"/>
            </a:pPr>
            <a:r>
              <a:rPr lang="en-US" sz="1400" b="0" i="0" dirty="0">
                <a:effectLst/>
              </a:rPr>
              <a:t>Availability zones should be used</a:t>
            </a:r>
          </a:p>
          <a:p>
            <a:pPr marL="171450" indent="-171450" algn="l">
              <a:buFont typeface="Arial" panose="020B0604020202020204" pitchFamily="34" charset="0"/>
              <a:buChar char="•"/>
            </a:pPr>
            <a:r>
              <a:rPr lang="en-US" sz="1400" b="0" i="0" dirty="0">
                <a:effectLst/>
              </a:rPr>
              <a:t>Uptime SLA should be enabled</a:t>
            </a:r>
          </a:p>
          <a:p>
            <a:pPr marL="171450" indent="-171450" algn="l">
              <a:buFont typeface="Arial" panose="020B0604020202020204" pitchFamily="34" charset="0"/>
              <a:buChar char="•"/>
            </a:pPr>
            <a:r>
              <a:rPr lang="en-US" sz="1400" b="0" i="0" dirty="0">
                <a:effectLst/>
              </a:rPr>
              <a:t>Control plane and node pools version should not be outdated</a:t>
            </a:r>
          </a:p>
          <a:p>
            <a:pPr marL="171450" indent="-171450" algn="l">
              <a:buFont typeface="Arial" panose="020B0604020202020204" pitchFamily="34" charset="0"/>
              <a:buChar char="•"/>
            </a:pPr>
            <a:r>
              <a:rPr lang="en-US" sz="1400" b="0" i="0" dirty="0">
                <a:effectLst/>
              </a:rPr>
              <a:t>Cluster should have at least one system and one user node pool</a:t>
            </a:r>
          </a:p>
          <a:p>
            <a:pPr marL="171450" indent="-171450" algn="l">
              <a:buFont typeface="Arial" panose="020B0604020202020204" pitchFamily="34" charset="0"/>
              <a:buChar char="•"/>
            </a:pPr>
            <a:r>
              <a:rPr lang="en-US" sz="1400" b="0" i="0" dirty="0">
                <a:effectLst/>
              </a:rPr>
              <a:t>AAD </a:t>
            </a:r>
            <a:r>
              <a:rPr lang="en-US" sz="1400" b="0" i="0" dirty="0" err="1">
                <a:effectLst/>
              </a:rPr>
              <a:t>PodIdentity</a:t>
            </a:r>
            <a:r>
              <a:rPr lang="en-US" sz="1400" b="0" i="0" dirty="0">
                <a:effectLst/>
              </a:rPr>
              <a:t> should not be used</a:t>
            </a:r>
          </a:p>
          <a:p>
            <a:pPr algn="l"/>
            <a:r>
              <a:rPr lang="en-US" sz="1400" b="1" i="0" dirty="0">
                <a:effectLst/>
              </a:rPr>
              <a:t>Networking</a:t>
            </a:r>
          </a:p>
          <a:p>
            <a:pPr marL="171450" indent="-171450" algn="l">
              <a:buFont typeface="Arial" panose="020B0604020202020204" pitchFamily="34" charset="0"/>
              <a:buChar char="•"/>
            </a:pPr>
            <a:r>
              <a:rPr lang="en-US" sz="1400" b="0" i="0" dirty="0">
                <a:effectLst/>
              </a:rPr>
              <a:t>Azure Overlay network should be used</a:t>
            </a:r>
          </a:p>
          <a:p>
            <a:pPr algn="l"/>
            <a:r>
              <a:rPr lang="en-US" sz="1400" b="1" i="0" dirty="0">
                <a:effectLst/>
              </a:rPr>
              <a:t>Performance</a:t>
            </a:r>
          </a:p>
          <a:p>
            <a:pPr marL="171450" indent="-171450" algn="l">
              <a:buFont typeface="Arial" panose="020B0604020202020204" pitchFamily="34" charset="0"/>
              <a:buChar char="•"/>
            </a:pPr>
            <a:r>
              <a:rPr lang="en-US" sz="1400" b="0" i="0" dirty="0">
                <a:effectLst/>
              </a:rPr>
              <a:t>Leverage Ephemeral OS Disk</a:t>
            </a:r>
          </a:p>
        </p:txBody>
      </p:sp>
      <p:pic>
        <p:nvPicPr>
          <p:cNvPr id="5" name="Picture 4">
            <a:extLst>
              <a:ext uri="{FF2B5EF4-FFF2-40B4-BE49-F238E27FC236}">
                <a16:creationId xmlns:a16="http://schemas.microsoft.com/office/drawing/2014/main" id="{C6FFA5FE-E895-90A1-134C-68B6BD2C7203}"/>
              </a:ext>
            </a:extLst>
          </p:cNvPr>
          <p:cNvPicPr>
            <a:picLocks noChangeAspect="1"/>
          </p:cNvPicPr>
          <p:nvPr/>
        </p:nvPicPr>
        <p:blipFill rotWithShape="1">
          <a:blip r:embed="rId3"/>
          <a:srcRect l="18326" r="21674"/>
          <a:stretch/>
        </p:blipFill>
        <p:spPr>
          <a:xfrm>
            <a:off x="5334000" y="10"/>
            <a:ext cx="6858000" cy="6857990"/>
          </a:xfrm>
          <a:prstGeom prst="rect">
            <a:avLst/>
          </a:prstGeom>
          <a:noFill/>
        </p:spPr>
      </p:pic>
    </p:spTree>
    <p:extLst>
      <p:ext uri="{BB962C8B-B14F-4D97-AF65-F5344CB8AC3E}">
        <p14:creationId xmlns:p14="http://schemas.microsoft.com/office/powerpoint/2010/main" val="351215991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spc="-50" dirty="0">
                <a:solidFill>
                  <a:schemeClr val="tx1">
                    <a:lumMod val="75000"/>
                  </a:schemeClr>
                </a:solidFill>
                <a:latin typeface="Segoe UI Semibold" panose="020B0702040204020203" pitchFamily="34" charset="0"/>
                <a:cs typeface="Segoe UI Semibold" panose="020B0702040204020203" pitchFamily="34" charset="0"/>
              </a:rPr>
              <a:t>Subscriptions assessed</a:t>
            </a:r>
            <a:endParaRPr lang="en-US" dirty="0">
              <a:latin typeface="Segoe UI Semibold" panose="020B0702040204020203" pitchFamily="34" charset="0"/>
              <a:cs typeface="Segoe UI Semibold" panose="020B0702040204020203" pitchFamily="34" charset="0"/>
            </a:endParaRPr>
          </a:p>
        </p:txBody>
      </p:sp>
      <p:sp>
        <p:nvSpPr>
          <p:cNvPr id="3" name="TextBox 2">
            <a:extLst>
              <a:ext uri="{FF2B5EF4-FFF2-40B4-BE49-F238E27FC236}">
                <a16:creationId xmlns:a16="http://schemas.microsoft.com/office/drawing/2014/main" id="{EB0EF1DD-C4B8-5E4D-241C-AB880D6D6124}"/>
              </a:ext>
            </a:extLst>
          </p:cNvPr>
          <p:cNvSpPr txBox="1"/>
          <p:nvPr/>
        </p:nvSpPr>
        <p:spPr>
          <a:xfrm>
            <a:off x="588262" y="1359877"/>
            <a:ext cx="10798945" cy="307777"/>
          </a:xfrm>
          <a:prstGeom prst="rect">
            <a:avLst/>
          </a:prstGeom>
          <a:noFill/>
        </p:spPr>
        <p:txBody>
          <a:bodyPr wrap="square" lIns="0" tIns="0" rIns="0" bIns="0" rtlCol="0">
            <a:spAutoFit/>
          </a:bodyPr>
          <a:lstStyle/>
          <a:p>
            <a:pPr algn="l"/>
            <a:r>
              <a:rPr lang="en-GB" sz="2000" dirty="0">
                <a:gradFill>
                  <a:gsLst>
                    <a:gs pos="2917">
                      <a:schemeClr val="tx1"/>
                    </a:gs>
                    <a:gs pos="30000">
                      <a:schemeClr val="tx1"/>
                    </a:gs>
                  </a:gsLst>
                  <a:lin ang="5400000" scaled="0"/>
                </a:gradFill>
              </a:rPr>
              <a:t>We have analysed </a:t>
            </a:r>
            <a:r>
              <a:rPr lang="en-GB" sz="2000" b="1" dirty="0">
                <a:gradFill>
                  <a:gsLst>
                    <a:gs pos="2917">
                      <a:schemeClr val="tx1"/>
                    </a:gs>
                    <a:gs pos="30000">
                      <a:schemeClr val="tx1"/>
                    </a:gs>
                  </a:gsLst>
                  <a:lin ang="5400000" scaled="0"/>
                </a:gradFill>
              </a:rPr>
              <a:t>&lt;n&gt;</a:t>
            </a:r>
            <a:r>
              <a:rPr lang="en-GB" sz="2000" dirty="0">
                <a:gradFill>
                  <a:gsLst>
                    <a:gs pos="2917">
                      <a:schemeClr val="tx1"/>
                    </a:gs>
                    <a:gs pos="30000">
                      <a:schemeClr val="tx1"/>
                    </a:gs>
                  </a:gsLst>
                  <a:lin ang="5400000" scaled="0"/>
                </a:gradFill>
              </a:rPr>
              <a:t> clusters in the following </a:t>
            </a:r>
            <a:r>
              <a:rPr lang="en-GB" sz="2000" b="1" dirty="0">
                <a:gradFill>
                  <a:gsLst>
                    <a:gs pos="2917">
                      <a:schemeClr val="tx1"/>
                    </a:gs>
                    <a:gs pos="30000">
                      <a:schemeClr val="tx1"/>
                    </a:gs>
                  </a:gsLst>
                  <a:lin ang="5400000" scaled="0"/>
                </a:gradFill>
              </a:rPr>
              <a:t>&lt;m&gt;</a:t>
            </a:r>
            <a:r>
              <a:rPr lang="en-GB" sz="2000" dirty="0">
                <a:gradFill>
                  <a:gsLst>
                    <a:gs pos="2917">
                      <a:schemeClr val="tx1"/>
                    </a:gs>
                    <a:gs pos="30000">
                      <a:schemeClr val="tx1"/>
                    </a:gs>
                  </a:gsLst>
                  <a:lin ang="5400000" scaled="0"/>
                </a:gradFill>
              </a:rPr>
              <a:t> subscriptions</a:t>
            </a:r>
          </a:p>
        </p:txBody>
      </p:sp>
      <p:sp>
        <p:nvSpPr>
          <p:cNvPr id="5" name="TextBox 4">
            <a:extLst>
              <a:ext uri="{FF2B5EF4-FFF2-40B4-BE49-F238E27FC236}">
                <a16:creationId xmlns:a16="http://schemas.microsoft.com/office/drawing/2014/main" id="{9398ABE6-CD19-C8C2-D520-0F5EDD4C039B}"/>
              </a:ext>
            </a:extLst>
          </p:cNvPr>
          <p:cNvSpPr txBox="1"/>
          <p:nvPr/>
        </p:nvSpPr>
        <p:spPr>
          <a:xfrm>
            <a:off x="588261" y="1980738"/>
            <a:ext cx="10613139" cy="553998"/>
          </a:xfrm>
          <a:prstGeom prst="rect">
            <a:avLst/>
          </a:prstGeom>
          <a:noFill/>
        </p:spPr>
        <p:txBody>
          <a:bodyPr wrap="square" lIns="0" tIns="0" rIns="0" bIns="0" numCol="3" rtlCol="0">
            <a:spAutoFit/>
          </a:bodyPr>
          <a:lstStyle/>
          <a:p>
            <a:pPr marL="342900" indent="-342900" algn="l">
              <a:buFont typeface="+mj-lt"/>
              <a:buAutoNum type="arabicPeriod"/>
            </a:pPr>
            <a:r>
              <a:rPr lang="en-GB" sz="1800" dirty="0">
                <a:gradFill>
                  <a:gsLst>
                    <a:gs pos="2917">
                      <a:schemeClr val="tx1"/>
                    </a:gs>
                    <a:gs pos="30000">
                      <a:schemeClr val="tx1"/>
                    </a:gs>
                  </a:gsLst>
                  <a:lin ang="5400000" scaled="0"/>
                </a:gradFill>
              </a:rPr>
              <a:t>Subscription AAA</a:t>
            </a:r>
          </a:p>
          <a:p>
            <a:pPr marL="342900" indent="-342900" algn="l">
              <a:buFont typeface="+mj-lt"/>
              <a:buAutoNum type="arabicPeriod"/>
            </a:pPr>
            <a:r>
              <a:rPr lang="en-GB" sz="1800" dirty="0">
                <a:gradFill>
                  <a:gsLst>
                    <a:gs pos="2917">
                      <a:schemeClr val="tx1"/>
                    </a:gs>
                    <a:gs pos="30000">
                      <a:schemeClr val="tx1"/>
                    </a:gs>
                  </a:gsLst>
                  <a:lin ang="5400000" scaled="0"/>
                </a:gradFill>
              </a:rPr>
              <a:t>Subscription BBB</a:t>
            </a:r>
          </a:p>
          <a:p>
            <a:pPr marL="342900" indent="-342900" algn="l">
              <a:buFont typeface="+mj-lt"/>
              <a:buAutoNum type="arabicPeriod"/>
            </a:pPr>
            <a:r>
              <a:rPr lang="en-GB" sz="1800" dirty="0">
                <a:gradFill>
                  <a:gsLst>
                    <a:gs pos="2917">
                      <a:schemeClr val="tx1"/>
                    </a:gs>
                    <a:gs pos="30000">
                      <a:schemeClr val="tx1"/>
                    </a:gs>
                  </a:gsLst>
                  <a:lin ang="5400000" scaled="0"/>
                </a:gradFill>
              </a:rPr>
              <a:t>Subscription DDD</a:t>
            </a:r>
          </a:p>
          <a:p>
            <a:pPr marL="342900" indent="-342900" algn="l">
              <a:buFont typeface="+mj-lt"/>
              <a:buAutoNum type="arabicPeriod"/>
            </a:pPr>
            <a:r>
              <a:rPr lang="en-GB" sz="1800" dirty="0">
                <a:gradFill>
                  <a:gsLst>
                    <a:gs pos="2917">
                      <a:schemeClr val="tx1"/>
                    </a:gs>
                    <a:gs pos="30000">
                      <a:schemeClr val="tx1"/>
                    </a:gs>
                  </a:gsLst>
                  <a:lin ang="5400000" scaled="0"/>
                </a:gradFill>
              </a:rPr>
              <a:t>Subscription EEE</a:t>
            </a:r>
          </a:p>
          <a:p>
            <a:pPr marL="342900" indent="-342900" algn="l">
              <a:buFont typeface="+mj-lt"/>
              <a:buAutoNum type="arabicPeriod"/>
            </a:pPr>
            <a:r>
              <a:rPr lang="en-GB" sz="1800" dirty="0">
                <a:gradFill>
                  <a:gsLst>
                    <a:gs pos="2917">
                      <a:schemeClr val="tx1"/>
                    </a:gs>
                    <a:gs pos="30000">
                      <a:schemeClr val="tx1"/>
                    </a:gs>
                  </a:gsLst>
                  <a:lin ang="5400000" scaled="0"/>
                </a:gradFill>
              </a:rPr>
              <a:t>Subscription FFF</a:t>
            </a:r>
          </a:p>
          <a:p>
            <a:pPr marL="342900" indent="-342900" algn="l">
              <a:buFont typeface="+mj-lt"/>
              <a:buAutoNum type="arabicPeriod"/>
            </a:pPr>
            <a:endParaRPr lang="en-GB" sz="1800" dirty="0">
              <a:gradFill>
                <a:gsLst>
                  <a:gs pos="2917">
                    <a:schemeClr val="tx1"/>
                  </a:gs>
                  <a:gs pos="30000">
                    <a:schemeClr val="tx1"/>
                  </a:gs>
                </a:gsLst>
                <a:lin ang="5400000" scaled="0"/>
              </a:gradFill>
            </a:endParaRPr>
          </a:p>
        </p:txBody>
      </p:sp>
      <p:pic>
        <p:nvPicPr>
          <p:cNvPr id="1026" name="Picture 2" descr="AzUpdate S04E02: Azure Database for PostgreSQL, Azure Monitor and Azure  Static Web Apps">
            <a:extLst>
              <a:ext uri="{FF2B5EF4-FFF2-40B4-BE49-F238E27FC236}">
                <a16:creationId xmlns:a16="http://schemas.microsoft.com/office/drawing/2014/main" id="{CD65B205-B672-0049-A548-67A783E886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3767" y="499533"/>
            <a:ext cx="1212549" cy="636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3097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spc="-50" dirty="0">
                <a:solidFill>
                  <a:schemeClr val="tx1">
                    <a:lumMod val="75000"/>
                  </a:schemeClr>
                </a:solidFill>
                <a:latin typeface="Segoe UI Semibold" panose="020B0702040204020203" pitchFamily="34" charset="0"/>
                <a:cs typeface="Segoe UI Semibold" panose="020B0702040204020203" pitchFamily="34" charset="0"/>
              </a:rPr>
              <a:t>AKS Assessment - Score</a:t>
            </a:r>
            <a:endParaRPr lang="en-US" dirty="0">
              <a:latin typeface="Segoe UI Semibold" panose="020B0702040204020203" pitchFamily="34" charset="0"/>
              <a:cs typeface="Segoe UI Semibold" panose="020B0702040204020203" pitchFamily="34" charset="0"/>
            </a:endParaRPr>
          </a:p>
        </p:txBody>
      </p:sp>
      <p:graphicFrame>
        <p:nvGraphicFramePr>
          <p:cNvPr id="4" name="Chart 3">
            <a:extLst>
              <a:ext uri="{FF2B5EF4-FFF2-40B4-BE49-F238E27FC236}">
                <a16:creationId xmlns:a16="http://schemas.microsoft.com/office/drawing/2014/main" id="{A5537748-85FC-AEE6-355D-D1737EB5DC76}"/>
              </a:ext>
            </a:extLst>
          </p:cNvPr>
          <p:cNvGraphicFramePr>
            <a:graphicFrameLocks/>
          </p:cNvGraphicFramePr>
          <p:nvPr>
            <p:extLst>
              <p:ext uri="{D42A27DB-BD31-4B8C-83A1-F6EECF244321}">
                <p14:modId xmlns:p14="http://schemas.microsoft.com/office/powerpoint/2010/main" val="1653970500"/>
              </p:ext>
            </p:extLst>
          </p:nvPr>
        </p:nvGraphicFramePr>
        <p:xfrm>
          <a:off x="2500923" y="2244968"/>
          <a:ext cx="6431939" cy="377287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ECAB16B3-A1C3-491A-B7B3-7357C147AB93}"/>
              </a:ext>
            </a:extLst>
          </p:cNvPr>
          <p:cNvSpPr txBox="1"/>
          <p:nvPr/>
        </p:nvSpPr>
        <p:spPr>
          <a:xfrm>
            <a:off x="588263" y="1210396"/>
            <a:ext cx="5109540" cy="615553"/>
          </a:xfrm>
          <a:prstGeom prst="rect">
            <a:avLst/>
          </a:prstGeom>
          <a:noFill/>
        </p:spPr>
        <p:txBody>
          <a:bodyPr wrap="none" lIns="0" tIns="0" rIns="0" bIns="0" rtlCol="0">
            <a:spAutoFit/>
          </a:bodyPr>
          <a:lstStyle/>
          <a:p>
            <a:pPr algn="l"/>
            <a:r>
              <a:rPr lang="en-GB" sz="2000" dirty="0">
                <a:gradFill>
                  <a:gsLst>
                    <a:gs pos="2917">
                      <a:schemeClr val="tx1"/>
                    </a:gs>
                    <a:gs pos="30000">
                      <a:schemeClr val="tx1"/>
                    </a:gs>
                  </a:gsLst>
                  <a:lin ang="5400000" scaled="0"/>
                </a:gradFill>
              </a:rPr>
              <a:t>Overview of cluster score starting from 1 to 5</a:t>
            </a:r>
          </a:p>
          <a:p>
            <a:pPr algn="l"/>
            <a:r>
              <a:rPr lang="en-GB" sz="2000" i="1" dirty="0">
                <a:gradFill>
                  <a:gsLst>
                    <a:gs pos="2917">
                      <a:schemeClr val="tx1"/>
                    </a:gs>
                    <a:gs pos="30000">
                      <a:schemeClr val="tx1"/>
                    </a:gs>
                  </a:gsLst>
                  <a:lin ang="5400000" scaled="0"/>
                </a:gradFill>
              </a:rPr>
              <a:t>- Put here the score pivot chart</a:t>
            </a:r>
          </a:p>
        </p:txBody>
      </p:sp>
    </p:spTree>
    <p:extLst>
      <p:ext uri="{BB962C8B-B14F-4D97-AF65-F5344CB8AC3E}">
        <p14:creationId xmlns:p14="http://schemas.microsoft.com/office/powerpoint/2010/main" val="24903816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paqz0PIqCeeIhCo8Jcpw"/>
</p:tagLst>
</file>

<file path=ppt/theme/theme1.xml><?xml version="1.0" encoding="utf-8"?>
<a:theme xmlns:a="http://schemas.openxmlformats.org/drawingml/2006/main" name="WAF">
  <a:themeElements>
    <a:clrScheme name="Custom 170">
      <a:dk1>
        <a:srgbClr val="000000"/>
      </a:dk1>
      <a:lt1>
        <a:srgbClr val="FFFFFF"/>
      </a:lt1>
      <a:dk2>
        <a:srgbClr val="243A5E"/>
      </a:dk2>
      <a:lt2>
        <a:srgbClr val="E6E6E6"/>
      </a:lt2>
      <a:accent1>
        <a:srgbClr val="0078D4"/>
      </a:accent1>
      <a:accent2>
        <a:srgbClr val="243A5E"/>
      </a:accent2>
      <a:accent3>
        <a:srgbClr val="D83B01"/>
      </a:accent3>
      <a:accent4>
        <a:srgbClr val="008575"/>
      </a:accent4>
      <a:accent5>
        <a:srgbClr val="737373"/>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eveloper Velocity Assessment - Recommendations Executive Summary" id="{C57A5DB4-FCC5-47FD-A6AE-77DA37E28D82}" vid="{28E842C2-EF6A-4A46-BE80-5B936E8B4FB7}"/>
    </a:ext>
  </a:extLst>
</a:theme>
</file>

<file path=ppt/theme/theme2.xml><?xml version="1.0" encoding="utf-8"?>
<a:theme xmlns:a="http://schemas.openxmlformats.org/drawingml/2006/main" name="3_Black Template">
  <a:themeElements>
    <a:clrScheme name="Custom 51">
      <a:dk1>
        <a:srgbClr val="000000"/>
      </a:dk1>
      <a:lt1>
        <a:srgbClr val="FFFFFF"/>
      </a:lt1>
      <a:dk2>
        <a:srgbClr val="3B2E58"/>
      </a:dk2>
      <a:lt2>
        <a:srgbClr val="E6E6E6"/>
      </a:lt2>
      <a:accent1>
        <a:srgbClr val="8661C5"/>
      </a:accent1>
      <a:accent2>
        <a:srgbClr val="0078D4"/>
      </a:accent2>
      <a:accent3>
        <a:srgbClr val="D2D2D2"/>
      </a:accent3>
      <a:accent4>
        <a:srgbClr val="008575"/>
      </a:accent4>
      <a:accent5>
        <a:srgbClr val="737373"/>
      </a:accent5>
      <a:accent6>
        <a:srgbClr val="9BF00B"/>
      </a:accent6>
      <a:hlink>
        <a:srgbClr val="008575"/>
      </a:hlink>
      <a:folHlink>
        <a:srgbClr val="00857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eveloper Velocity Assessment - Recommendations Executive Summary" id="{C57A5DB4-FCC5-47FD-A6AE-77DA37E28D82}" vid="{8FA027DF-6B89-475D-A279-4A55947F2E0A}"/>
    </a:ext>
  </a:extLst>
</a:theme>
</file>

<file path=ppt/theme/theme3.xml><?xml version="1.0" encoding="utf-8"?>
<a:theme xmlns:a="http://schemas.openxmlformats.org/drawingml/2006/main" name="7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eveloper Velocity Assessment - Recommendations Executive Summary" id="{C57A5DB4-FCC5-47FD-A6AE-77DA37E28D82}" vid="{7624379A-E586-447B-839F-98F2A2FEB5B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12DB734CAC46429CDE35839BF83CB7" ma:contentTypeVersion="27" ma:contentTypeDescription="Create a new document." ma:contentTypeScope="" ma:versionID="e78976f1d83af792d15142cbb8f442ac">
  <xsd:schema xmlns:xsd="http://www.w3.org/2001/XMLSchema" xmlns:xs="http://www.w3.org/2001/XMLSchema" xmlns:p="http://schemas.microsoft.com/office/2006/metadata/properties" xmlns:ns1="http://schemas.microsoft.com/sharepoint/v3" xmlns:ns2="e051f109-40f0-40d8-b5d0-4f6fc7578ce5" xmlns:ns3="c2fe79a6-8abe-455d-ad41-5c60efd42c27" xmlns:ns4="230e9df3-be65-4c73-a93b-d1236ebd677e" targetNamespace="http://schemas.microsoft.com/office/2006/metadata/properties" ma:root="true" ma:fieldsID="51940a6b20a5f1e1b1fcb427f2cae944" ns1:_="" ns2:_="" ns3:_="" ns4:_="">
    <xsd:import namespace="http://schemas.microsoft.com/sharepoint/v3"/>
    <xsd:import namespace="e051f109-40f0-40d8-b5d0-4f6fc7578ce5"/>
    <xsd:import namespace="c2fe79a6-8abe-455d-ad41-5c60efd42c2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_Flow_SignoffStatus" minOccurs="0"/>
                <xsd:element ref="ns1:_ip_UnifiedCompliancePolicyProperties" minOccurs="0"/>
                <xsd:element ref="ns1:_ip_UnifiedCompliancePolicyUIAction"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2:MediaLengthInSeconds"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51f109-40f0-40d8-b5d0-4f6fc7578c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Flow_SignoffStatus" ma:index="10" nillable="true" ma:displayName="Sign-off status" ma:internalName="Sign_x002d_off_x0020_status">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LengthInSeconds" ma:index="24" nillable="true" ma:displayName="MediaLengthInSeconds" ma:hidden="true" ma:internalName="MediaLengthInSeconds" ma:readOnly="true">
      <xsd:simpleType>
        <xsd:restriction base="dms:Unknow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2fe79a6-8abe-455d-ad41-5c60efd42c2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512b3914-fd28-4b53-a746-fcfd87edfe12}" ma:internalName="TaxCatchAll" ma:showField="CatchAllData" ma:web="c2fe79a6-8abe-455d-ad41-5c60efd42c2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e051f109-40f0-40d8-b5d0-4f6fc7578ce5">
      <Terms xmlns="http://schemas.microsoft.com/office/infopath/2007/PartnerControls"/>
    </lcf76f155ced4ddcb4097134ff3c332f>
    <SharedWithUsers xmlns="c2fe79a6-8abe-455d-ad41-5c60efd42c27">
      <UserInfo>
        <DisplayName/>
        <AccountId xsi:nil="true"/>
        <AccountType/>
      </UserInfo>
    </SharedWithUsers>
    <_Flow_SignoffStatus xmlns="e051f109-40f0-40d8-b5d0-4f6fc7578ce5" xsi:nil="true"/>
    <MediaLengthInSeconds xmlns="e051f109-40f0-40d8-b5d0-4f6fc7578ce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02DF6A-78CF-42B6-9C1C-397B49D372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051f109-40f0-40d8-b5d0-4f6fc7578ce5"/>
    <ds:schemaRef ds:uri="c2fe79a6-8abe-455d-ad41-5c60efd42c2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422918C-23A2-4010-9A68-1416E8935B4F}">
  <ds:schemaRefs>
    <ds:schemaRef ds:uri="http://schemas.microsoft.com/sharepoint/v3"/>
    <ds:schemaRef ds:uri="http://purl.org/dc/elements/1.1/"/>
    <ds:schemaRef ds:uri="230e9df3-be65-4c73-a93b-d1236ebd677e"/>
    <ds:schemaRef ds:uri="http://schemas.microsoft.com/office/2006/documentManagement/types"/>
    <ds:schemaRef ds:uri="http://schemas.microsoft.com/office/infopath/2007/PartnerControls"/>
    <ds:schemaRef ds:uri="http://purl.org/dc/terms/"/>
    <ds:schemaRef ds:uri="e051f109-40f0-40d8-b5d0-4f6fc7578ce5"/>
    <ds:schemaRef ds:uri="http://schemas.openxmlformats.org/package/2006/metadata/core-properties"/>
    <ds:schemaRef ds:uri="http://schemas.microsoft.com/office/2006/metadata/properties"/>
    <ds:schemaRef ds:uri="c2fe79a6-8abe-455d-ad41-5c60efd42c27"/>
    <ds:schemaRef ds:uri="http://www.w3.org/XML/1998/namespace"/>
    <ds:schemaRef ds:uri="http://purl.org/dc/dcmitype/"/>
  </ds:schemaRefs>
</ds:datastoreItem>
</file>

<file path=customXml/itemProps3.xml><?xml version="1.0" encoding="utf-8"?>
<ds:datastoreItem xmlns:ds="http://schemas.openxmlformats.org/officeDocument/2006/customXml" ds:itemID="{D1C6D56B-7129-44C0-8B78-1C3E595A6D32}">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eveloper Velocity Assessment - Recommendations Executive Summary</Template>
  <TotalTime>547</TotalTime>
  <Words>2857</Words>
  <Application>Microsoft Office PowerPoint</Application>
  <PresentationFormat>Widescreen</PresentationFormat>
  <Paragraphs>368</Paragraphs>
  <Slides>35</Slides>
  <Notes>31</Notes>
  <HiddenSlides>4</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5</vt:i4>
      </vt:variant>
    </vt:vector>
  </HeadingPairs>
  <TitlesOfParts>
    <vt:vector size="48" baseType="lpstr">
      <vt:lpstr>Arial</vt:lpstr>
      <vt:lpstr>Calibri</vt:lpstr>
      <vt:lpstr>Consolas</vt:lpstr>
      <vt:lpstr>Segoe UI</vt:lpstr>
      <vt:lpstr>Segoe UI Light</vt:lpstr>
      <vt:lpstr>Segoe UI Semibold</vt:lpstr>
      <vt:lpstr>Segoe UI Semilight</vt:lpstr>
      <vt:lpstr>Segoe UI Symbol</vt:lpstr>
      <vt:lpstr>Wingdings</vt:lpstr>
      <vt:lpstr>WAF</vt:lpstr>
      <vt:lpstr>3_Black Template</vt:lpstr>
      <vt:lpstr>7_9-51052_Microsoft_Inspire_Template_Dark</vt:lpstr>
      <vt:lpstr>think-cell Slide</vt:lpstr>
      <vt:lpstr>AKS Well-Architected Assessment</vt:lpstr>
      <vt:lpstr>Agenda</vt:lpstr>
      <vt:lpstr>Introduction</vt:lpstr>
      <vt:lpstr>Kubernetes statistics</vt:lpstr>
      <vt:lpstr>PowerPoint Presentation</vt:lpstr>
      <vt:lpstr>AKS Well-Architected Assessment</vt:lpstr>
      <vt:lpstr>Checks</vt:lpstr>
      <vt:lpstr>Subscriptions assessed</vt:lpstr>
      <vt:lpstr>AKS Assessment - Score</vt:lpstr>
      <vt:lpstr>What is going well</vt:lpstr>
      <vt:lpstr>Improvement Opportunities</vt:lpstr>
      <vt:lpstr>AKS Assessment – Cluster must be private</vt:lpstr>
      <vt:lpstr>AKS Assessment – NSG should be linked to node pools subnets</vt:lpstr>
      <vt:lpstr>AKS Assessment – External IP addresses should not be associated with AKS load balancer</vt:lpstr>
      <vt:lpstr>AKS Assessment – Network policies (Azure or Calico) should be enabled</vt:lpstr>
      <vt:lpstr>AKS Assessment – Public FQDN should be disabled</vt:lpstr>
      <vt:lpstr>AKS Assessment – Defender profile should be enabled</vt:lpstr>
      <vt:lpstr>AKS Assessment – Policy add-on should be enabled</vt:lpstr>
      <vt:lpstr>AKS Assessment – KMS should be enabled</vt:lpstr>
      <vt:lpstr>AKS Assessment – RBAC should be enabled</vt:lpstr>
      <vt:lpstr>AKS Assessment – Microsoft Entra ID authentication should be enabled</vt:lpstr>
      <vt:lpstr>AKS Assessment – Microsoft Entra Workload Identity should be enabled</vt:lpstr>
      <vt:lpstr>AKS Health Assessment – AAD PodIdentity should not be used</vt:lpstr>
      <vt:lpstr>AKS Health Assessment – Leverage Cluster Managed Identity</vt:lpstr>
      <vt:lpstr>AKS Assessment – Disable local account</vt:lpstr>
      <vt:lpstr>AKS Assessment – Container Insights should be enabled</vt:lpstr>
      <vt:lpstr>AKS Assessment – Diagnostic Settings should be enabled</vt:lpstr>
      <vt:lpstr>AKS Assessment – Availability zones should be used</vt:lpstr>
      <vt:lpstr>AKS Assessment – Uptime SLA should be enabled</vt:lpstr>
      <vt:lpstr>AKS Assessment - Control plane and node pools version should not be outdated</vt:lpstr>
      <vt:lpstr>AKS Assessment – Cluster should have at least one system and one user node pool</vt:lpstr>
      <vt:lpstr>AKS Assessment – Azure Overlay network should be used</vt:lpstr>
      <vt:lpstr>AKS Assessment – Leverage Ephemeral OS Disk</vt:lpstr>
      <vt:lpstr>Next steps</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 for Delivery Resource</dc:title>
  <dc:subject/>
  <dc:creator>Gianluigi.Liguori@microsoft.com</dc:creator>
  <cp:keywords/>
  <dc:description/>
  <cp:lastModifiedBy>Gianluigi Liguori</cp:lastModifiedBy>
  <cp:revision>8</cp:revision>
  <dcterms:created xsi:type="dcterms:W3CDTF">2023-01-05T18:38:16Z</dcterms:created>
  <dcterms:modified xsi:type="dcterms:W3CDTF">2023-12-01T15:0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12DB734CAC46429CDE35839BF83CB7</vt:lpwstr>
  </property>
  <property fmtid="{D5CDD505-2E9C-101B-9397-08002B2CF9AE}" pid="3" name="MediaServiceImageTags">
    <vt:lpwstr/>
  </property>
  <property fmtid="{D5CDD505-2E9C-101B-9397-08002B2CF9AE}" pid="4" name="Order">
    <vt:r8>342700</vt:r8>
  </property>
  <property fmtid="{D5CDD505-2E9C-101B-9397-08002B2CF9AE}" pid="5" name="Mail Sent">
    <vt:bool>false</vt:bool>
  </property>
  <property fmtid="{D5CDD505-2E9C-101B-9397-08002B2CF9AE}" pid="6" name="Lead Signoff">
    <vt:bool>false</vt:bool>
  </property>
  <property fmtid="{D5CDD505-2E9C-101B-9397-08002B2CF9AE}" pid="7" name="Title URL">
    <vt:lpwstr>, </vt:lpwstr>
  </property>
  <property fmtid="{D5CDD505-2E9C-101B-9397-08002B2CF9AE}" pid="8" name="xd_Signature">
    <vt:bool>false</vt:bool>
  </property>
  <property fmtid="{D5CDD505-2E9C-101B-9397-08002B2CF9AE}" pid="9" name="xd_ProgID">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State">
    <vt:lpwstr>Open</vt:lpwstr>
  </property>
</Properties>
</file>